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charts/chart7.xml" ContentType="application/vnd.openxmlformats-officedocument.drawingml.chart+xml"/>
  <Override PartName="/ppt/tags/tag19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147377502" r:id="rId2"/>
    <p:sldId id="2147377429" r:id="rId3"/>
    <p:sldId id="2147377483" r:id="rId4"/>
    <p:sldId id="2147377391" r:id="rId5"/>
    <p:sldId id="2147377238" r:id="rId6"/>
    <p:sldId id="2147377440" r:id="rId7"/>
    <p:sldId id="2147377500" r:id="rId8"/>
    <p:sldId id="282" r:id="rId9"/>
    <p:sldId id="2147377501" r:id="rId10"/>
  </p:sldIdLst>
  <p:sldSz cx="12192000" cy="6858000"/>
  <p:notesSz cx="7104063" cy="10234613"/>
  <p:embeddedFontLst>
    <p:embeddedFont>
      <p:font typeface="Montserrat" panose="00000500000000000000" pitchFamily="2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921A9397-EF13-49B7-877C-6BB4CB584185}">
          <p14:sldIdLst>
            <p14:sldId id="2147377502"/>
            <p14:sldId id="2147377429"/>
            <p14:sldId id="2147377483"/>
            <p14:sldId id="2147377391"/>
            <p14:sldId id="2147377238"/>
            <p14:sldId id="2147377440"/>
            <p14:sldId id="2147377500"/>
            <p14:sldId id="282"/>
            <p14:sldId id="214737750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A3E7CD5-6541-C920-3C25-4A8FC2F9109D}" name="Thomas Aarestrup Jepsen" initials="TA" userId="S::taj@greenpowerdenmark.dk::25a38cca-05c0-4bde-aa0c-58f20cf2d5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FC4D57-26A6-405C-BD05-38D668CE755A}" v="1" dt="2025-10-16T09:08:24.974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93204" autoAdjust="0"/>
  </p:normalViewPr>
  <p:slideViewPr>
    <p:cSldViewPr snapToGrid="0">
      <p:cViewPr varScale="1">
        <p:scale>
          <a:sx n="105" d="100"/>
          <a:sy n="105" d="100"/>
        </p:scale>
        <p:origin x="828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presProps" Target="presProps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microsoft.com/office/2016/11/relationships/changesInfo" Target="changesInfos/changesInfo1.xml"/><Relationship Id="rId27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istian Jensen" userId="15c49ee8-c290-4295-9467-7a3906c7e141" providerId="ADAL" clId="{E31D2016-262A-4181-A8F0-EA65FCD9E620}"/>
    <pc:docChg chg="undo custSel addSld modSld">
      <pc:chgData name="Kristian Jensen" userId="15c49ee8-c290-4295-9467-7a3906c7e141" providerId="ADAL" clId="{E31D2016-262A-4181-A8F0-EA65FCD9E620}" dt="2025-10-16T09:09:41.337" v="5" actId="1076"/>
      <pc:docMkLst>
        <pc:docMk/>
      </pc:docMkLst>
      <pc:sldChg chg="add">
        <pc:chgData name="Kristian Jensen" userId="15c49ee8-c290-4295-9467-7a3906c7e141" providerId="ADAL" clId="{E31D2016-262A-4181-A8F0-EA65FCD9E620}" dt="2025-10-16T09:08:24.970" v="4"/>
        <pc:sldMkLst>
          <pc:docMk/>
          <pc:sldMk cId="1038363409" sldId="2147377238"/>
        </pc:sldMkLst>
      </pc:sldChg>
      <pc:sldChg chg="addSp delSp mod">
        <pc:chgData name="Kristian Jensen" userId="15c49ee8-c290-4295-9467-7a3906c7e141" providerId="ADAL" clId="{E31D2016-262A-4181-A8F0-EA65FCD9E620}" dt="2025-10-16T09:08:13.515" v="3" actId="22"/>
        <pc:sldMkLst>
          <pc:docMk/>
          <pc:sldMk cId="406072033" sldId="2147377391"/>
        </pc:sldMkLst>
        <pc:spChg chg="add del">
          <ac:chgData name="Kristian Jensen" userId="15c49ee8-c290-4295-9467-7a3906c7e141" providerId="ADAL" clId="{E31D2016-262A-4181-A8F0-EA65FCD9E620}" dt="2025-10-16T09:08:13.515" v="3" actId="22"/>
          <ac:spMkLst>
            <pc:docMk/>
            <pc:sldMk cId="406072033" sldId="2147377391"/>
            <ac:spMk id="3" creationId="{F7D978F8-A457-BBEB-8B5B-9D7B8A79B83D}"/>
          </ac:spMkLst>
        </pc:spChg>
      </pc:sldChg>
      <pc:sldChg chg="addSp delSp modSp mod">
        <pc:chgData name="Kristian Jensen" userId="15c49ee8-c290-4295-9467-7a3906c7e141" providerId="ADAL" clId="{E31D2016-262A-4181-A8F0-EA65FCD9E620}" dt="2025-10-16T09:09:41.337" v="5" actId="1076"/>
        <pc:sldMkLst>
          <pc:docMk/>
          <pc:sldMk cId="3037898808" sldId="2147377440"/>
        </pc:sldMkLst>
        <pc:spChg chg="add del">
          <ac:chgData name="Kristian Jensen" userId="15c49ee8-c290-4295-9467-7a3906c7e141" providerId="ADAL" clId="{E31D2016-262A-4181-A8F0-EA65FCD9E620}" dt="2025-10-16T09:08:10.603" v="2" actId="22"/>
          <ac:spMkLst>
            <pc:docMk/>
            <pc:sldMk cId="3037898808" sldId="2147377440"/>
            <ac:spMk id="5" creationId="{EF4C58EC-5B9F-EBDA-231C-F7F87EFB9024}"/>
          </ac:spMkLst>
        </pc:spChg>
        <pc:graphicFrameChg chg="mod">
          <ac:chgData name="Kristian Jensen" userId="15c49ee8-c290-4295-9467-7a3906c7e141" providerId="ADAL" clId="{E31D2016-262A-4181-A8F0-EA65FCD9E620}" dt="2025-10-16T09:09:41.337" v="5" actId="1076"/>
          <ac:graphicFrameMkLst>
            <pc:docMk/>
            <pc:sldMk cId="3037898808" sldId="2147377440"/>
            <ac:graphicFrameMk id="204" creationId="{1DE0CC8D-0218-A961-5609-19A809AAEE8A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57819905213271E-3"/>
          <c:y val="8.1081081081081086E-2"/>
          <c:w val="0.98028436018957343"/>
          <c:h val="0.837837837837837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0A-4715-9A48-607373F18A4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0A-4715-9A48-607373F18A4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20A-4715-9A48-607373F18A4D}"/>
                </c:ext>
              </c:extLst>
            </c:dLbl>
            <c:dLbl>
              <c:idx val="3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20A-4715-9A48-607373F18A4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20A-4715-9A48-607373F18A4D}"/>
                </c:ext>
              </c:extLst>
            </c:dLbl>
            <c:dLbl>
              <c:idx val="5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20A-4715-9A48-607373F18A4D}"/>
                </c:ext>
              </c:extLst>
            </c:dLbl>
            <c:dLbl>
              <c:idx val="6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20A-4715-9A48-607373F18A4D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20A-4715-9A48-607373F18A4D}"/>
                </c:ext>
              </c:extLst>
            </c:dLbl>
            <c:dLbl>
              <c:idx val="8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20A-4715-9A48-607373F18A4D}"/>
                </c:ext>
              </c:extLst>
            </c:dLbl>
            <c:dLbl>
              <c:idx val="9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20A-4715-9A48-607373F18A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41.289690612000001</c:v>
                </c:pt>
                <c:pt idx="1">
                  <c:v>41.348318525000018</c:v>
                </c:pt>
                <c:pt idx="2">
                  <c:v>41.070853516000014</c:v>
                </c:pt>
                <c:pt idx="3">
                  <c:v>41.334999487999994</c:v>
                </c:pt>
                <c:pt idx="4">
                  <c:v>40.826969071000008</c:v>
                </c:pt>
                <c:pt idx="5">
                  <c:v>39.105548171999999</c:v>
                </c:pt>
                <c:pt idx="6">
                  <c:v>34.007450861999999</c:v>
                </c:pt>
                <c:pt idx="7">
                  <c:v>36.466977389000007</c:v>
                </c:pt>
                <c:pt idx="8">
                  <c:v>35.693148760999989</c:v>
                </c:pt>
                <c:pt idx="9">
                  <c:v>33.71284956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20A-4715-9A48-607373F18A4D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1.870444133999996</c:v>
                </c:pt>
                <c:pt idx="1">
                  <c:v>12.396527888999998</c:v>
                </c:pt>
                <c:pt idx="2">
                  <c:v>13.119845366999996</c:v>
                </c:pt>
                <c:pt idx="3">
                  <c:v>13.859894898</c:v>
                </c:pt>
                <c:pt idx="4">
                  <c:v>13.603256516000002</c:v>
                </c:pt>
                <c:pt idx="5">
                  <c:v>14.035359470000003</c:v>
                </c:pt>
                <c:pt idx="6">
                  <c:v>13.69929698</c:v>
                </c:pt>
                <c:pt idx="7">
                  <c:v>14.208998468000004</c:v>
                </c:pt>
                <c:pt idx="8">
                  <c:v>12.324299448000005</c:v>
                </c:pt>
                <c:pt idx="9">
                  <c:v>11.431548383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20A-4715-9A48-607373F18A4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2625482625482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20A-4715-9A48-607373F18A4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20A-4715-9A48-607373F18A4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20A-4715-9A48-607373F18A4D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20A-4715-9A48-607373F18A4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20A-4715-9A48-607373F18A4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20A-4715-9A48-607373F18A4D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20A-4715-9A48-607373F18A4D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20A-4715-9A48-607373F18A4D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20A-4715-9A48-607373F18A4D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20A-4715-9A48-607373F18A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J$3</c:f>
              <c:numCache>
                <c:formatCode>General</c:formatCode>
                <c:ptCount val="10"/>
                <c:pt idx="0">
                  <c:v>8.3266109209999968</c:v>
                </c:pt>
                <c:pt idx="1">
                  <c:v>8.578991692999999</c:v>
                </c:pt>
                <c:pt idx="2">
                  <c:v>8.7226696299999986</c:v>
                </c:pt>
                <c:pt idx="3">
                  <c:v>9.0485088109999978</c:v>
                </c:pt>
                <c:pt idx="4">
                  <c:v>9.4514337569999967</c:v>
                </c:pt>
                <c:pt idx="5">
                  <c:v>9.7351361019999985</c:v>
                </c:pt>
                <c:pt idx="6">
                  <c:v>10.033178211999996</c:v>
                </c:pt>
                <c:pt idx="7">
                  <c:v>10.556091430999999</c:v>
                </c:pt>
                <c:pt idx="8">
                  <c:v>10.459647492000002</c:v>
                </c:pt>
                <c:pt idx="9">
                  <c:v>10.928489712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20A-4715-9A48-607373F18A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43216591"/>
        <c:axId val="1"/>
      </c:barChart>
      <c:catAx>
        <c:axId val="2043216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4.2434031969999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432165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60420456842531"/>
          <c:y val="5.7114228456913829E-2"/>
          <c:w val="0.87588437436830402"/>
          <c:h val="0.8852705410821643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89130.71100000001</c:v>
                </c:pt>
                <c:pt idx="1">
                  <c:v>174186.07299999997</c:v>
                </c:pt>
                <c:pt idx="2">
                  <c:v>158154.49599999998</c:v>
                </c:pt>
                <c:pt idx="3">
                  <c:v>147526.16699999999</c:v>
                </c:pt>
                <c:pt idx="4">
                  <c:v>132903.34</c:v>
                </c:pt>
                <c:pt idx="5">
                  <c:v>126576.549</c:v>
                </c:pt>
                <c:pt idx="6">
                  <c:v>124735.469</c:v>
                </c:pt>
                <c:pt idx="7">
                  <c:v>110296.50200000001</c:v>
                </c:pt>
                <c:pt idx="8">
                  <c:v>117568.883</c:v>
                </c:pt>
                <c:pt idx="9">
                  <c:v>118929.51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A3-4C16-9BAF-09A07F0FFEF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15504.756210526306</c:v>
                </c:pt>
                <c:pt idx="1">
                  <c:v>16099.777999999991</c:v>
                </c:pt>
                <c:pt idx="2">
                  <c:v>16617.189052631584</c:v>
                </c:pt>
                <c:pt idx="3">
                  <c:v>16990.977263157896</c:v>
                </c:pt>
                <c:pt idx="4">
                  <c:v>16944.821894736844</c:v>
                </c:pt>
                <c:pt idx="5">
                  <c:v>17294.888105263148</c:v>
                </c:pt>
                <c:pt idx="6">
                  <c:v>17950.48599999999</c:v>
                </c:pt>
                <c:pt idx="7">
                  <c:v>19049.368947368421</c:v>
                </c:pt>
                <c:pt idx="8">
                  <c:v>19356.509578947356</c:v>
                </c:pt>
                <c:pt idx="9">
                  <c:v>19329.562631578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A3-4C16-9BAF-09A07F0FFEF5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115341.39099999997</c:v>
                </c:pt>
                <c:pt idx="1">
                  <c:v>126027.31599999999</c:v>
                </c:pt>
                <c:pt idx="2">
                  <c:v>153173.40100000004</c:v>
                </c:pt>
                <c:pt idx="3">
                  <c:v>159476.60299999997</c:v>
                </c:pt>
                <c:pt idx="4">
                  <c:v>146964.62899999999</c:v>
                </c:pt>
                <c:pt idx="5">
                  <c:v>159774.90300000002</c:v>
                </c:pt>
                <c:pt idx="6">
                  <c:v>148162.014</c:v>
                </c:pt>
                <c:pt idx="7">
                  <c:v>153225.51899999997</c:v>
                </c:pt>
                <c:pt idx="8">
                  <c:v>83822.960000000021</c:v>
                </c:pt>
                <c:pt idx="9">
                  <c:v>33402.657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A3-4C16-9BAF-09A07F0FFEF5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40</c:v>
                </c:pt>
                <c:pt idx="3">
                  <c:v>1701.1770000000251</c:v>
                </c:pt>
                <c:pt idx="4">
                  <c:v>2138.3250000000116</c:v>
                </c:pt>
                <c:pt idx="5">
                  <c:v>12535.678000000014</c:v>
                </c:pt>
                <c:pt idx="6">
                  <c:v>15608.021000000008</c:v>
                </c:pt>
                <c:pt idx="7">
                  <c:v>20270.673999999999</c:v>
                </c:pt>
                <c:pt idx="8">
                  <c:v>52996.485999999975</c:v>
                </c:pt>
                <c:pt idx="9">
                  <c:v>57485.402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A3-4C16-9BAF-09A07F0FFEF5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10192.489999999991</c:v>
                </c:pt>
                <c:pt idx="1">
                  <c:v>12145.977000000014</c:v>
                </c:pt>
                <c:pt idx="2">
                  <c:v>11299.141999999993</c:v>
                </c:pt>
                <c:pt idx="3">
                  <c:v>15663.245999999985</c:v>
                </c:pt>
                <c:pt idx="4">
                  <c:v>16326.950000000012</c:v>
                </c:pt>
                <c:pt idx="5">
                  <c:v>21039.212</c:v>
                </c:pt>
                <c:pt idx="6">
                  <c:v>16350.456999999995</c:v>
                </c:pt>
                <c:pt idx="7">
                  <c:v>15331.718999999983</c:v>
                </c:pt>
                <c:pt idx="8">
                  <c:v>19823.108000000007</c:v>
                </c:pt>
                <c:pt idx="9">
                  <c:v>18779.59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A3-4C16-9BAF-09A07F0FFEF5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32250.175999999978</c:v>
                </c:pt>
                <c:pt idx="1">
                  <c:v>32863.987000000081</c:v>
                </c:pt>
                <c:pt idx="2">
                  <c:v>78549.653999999922</c:v>
                </c:pt>
                <c:pt idx="3">
                  <c:v>87831.085999999952</c:v>
                </c:pt>
                <c:pt idx="4">
                  <c:v>114073.91499999992</c:v>
                </c:pt>
                <c:pt idx="5">
                  <c:v>114393.54000000004</c:v>
                </c:pt>
                <c:pt idx="6">
                  <c:v>62688.793000000005</c:v>
                </c:pt>
                <c:pt idx="7">
                  <c:v>92628.680999999982</c:v>
                </c:pt>
                <c:pt idx="8">
                  <c:v>130999.20400000003</c:v>
                </c:pt>
                <c:pt idx="9">
                  <c:v>92489.538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A3-4C16-9BAF-09A07F0FF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8980032"/>
        <c:axId val="1"/>
      </c:areaChart>
      <c:catAx>
        <c:axId val="588980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88980032"/>
        <c:crosses val="min"/>
        <c:crossBetween val="midCat"/>
        <c:majorUnit val="5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153557173045313E-2"/>
          <c:y val="5.4575986565910999E-2"/>
          <c:w val="0.89363700399154733"/>
          <c:h val="0.89084802686817799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LA$1</c:f>
              <c:numCache>
                <c:formatCode>General</c:formatCode>
                <c:ptCount val="313"/>
                <c:pt idx="0">
                  <c:v>18995</c:v>
                </c:pt>
                <c:pt idx="1">
                  <c:v>19002</c:v>
                </c:pt>
                <c:pt idx="2">
                  <c:v>19009</c:v>
                </c:pt>
                <c:pt idx="3">
                  <c:v>19016</c:v>
                </c:pt>
                <c:pt idx="4">
                  <c:v>19023</c:v>
                </c:pt>
                <c:pt idx="5">
                  <c:v>19030</c:v>
                </c:pt>
                <c:pt idx="6">
                  <c:v>19037</c:v>
                </c:pt>
                <c:pt idx="7">
                  <c:v>19044</c:v>
                </c:pt>
                <c:pt idx="8">
                  <c:v>19051</c:v>
                </c:pt>
                <c:pt idx="9">
                  <c:v>19058</c:v>
                </c:pt>
                <c:pt idx="10">
                  <c:v>19065</c:v>
                </c:pt>
                <c:pt idx="11">
                  <c:v>19072</c:v>
                </c:pt>
                <c:pt idx="12">
                  <c:v>19079</c:v>
                </c:pt>
                <c:pt idx="13">
                  <c:v>19086</c:v>
                </c:pt>
                <c:pt idx="14">
                  <c:v>19093</c:v>
                </c:pt>
                <c:pt idx="15">
                  <c:v>19100</c:v>
                </c:pt>
                <c:pt idx="16">
                  <c:v>19107</c:v>
                </c:pt>
                <c:pt idx="17">
                  <c:v>19114</c:v>
                </c:pt>
                <c:pt idx="18">
                  <c:v>19121</c:v>
                </c:pt>
                <c:pt idx="19">
                  <c:v>19128</c:v>
                </c:pt>
                <c:pt idx="20">
                  <c:v>19135</c:v>
                </c:pt>
                <c:pt idx="21">
                  <c:v>19142</c:v>
                </c:pt>
                <c:pt idx="22">
                  <c:v>19149</c:v>
                </c:pt>
                <c:pt idx="23">
                  <c:v>19156</c:v>
                </c:pt>
                <c:pt idx="24">
                  <c:v>19163</c:v>
                </c:pt>
                <c:pt idx="25">
                  <c:v>19170</c:v>
                </c:pt>
                <c:pt idx="26">
                  <c:v>19177</c:v>
                </c:pt>
                <c:pt idx="27">
                  <c:v>19184</c:v>
                </c:pt>
                <c:pt idx="28">
                  <c:v>19191</c:v>
                </c:pt>
                <c:pt idx="29">
                  <c:v>19198</c:v>
                </c:pt>
                <c:pt idx="30">
                  <c:v>19205</c:v>
                </c:pt>
                <c:pt idx="31">
                  <c:v>19212</c:v>
                </c:pt>
                <c:pt idx="32">
                  <c:v>19219</c:v>
                </c:pt>
                <c:pt idx="33">
                  <c:v>19226</c:v>
                </c:pt>
                <c:pt idx="34">
                  <c:v>19233</c:v>
                </c:pt>
                <c:pt idx="35">
                  <c:v>19240</c:v>
                </c:pt>
                <c:pt idx="36">
                  <c:v>19247</c:v>
                </c:pt>
                <c:pt idx="37">
                  <c:v>19254</c:v>
                </c:pt>
                <c:pt idx="38">
                  <c:v>19261</c:v>
                </c:pt>
                <c:pt idx="39">
                  <c:v>19268</c:v>
                </c:pt>
                <c:pt idx="40">
                  <c:v>19275</c:v>
                </c:pt>
                <c:pt idx="41">
                  <c:v>19282</c:v>
                </c:pt>
                <c:pt idx="42">
                  <c:v>19289</c:v>
                </c:pt>
                <c:pt idx="43">
                  <c:v>19296</c:v>
                </c:pt>
                <c:pt idx="44">
                  <c:v>19303</c:v>
                </c:pt>
                <c:pt idx="45">
                  <c:v>19310</c:v>
                </c:pt>
                <c:pt idx="46">
                  <c:v>19317</c:v>
                </c:pt>
                <c:pt idx="47">
                  <c:v>19324</c:v>
                </c:pt>
                <c:pt idx="48">
                  <c:v>19331</c:v>
                </c:pt>
                <c:pt idx="49">
                  <c:v>19338</c:v>
                </c:pt>
                <c:pt idx="50">
                  <c:v>19345</c:v>
                </c:pt>
                <c:pt idx="51">
                  <c:v>19352</c:v>
                </c:pt>
                <c:pt idx="52">
                  <c:v>19359</c:v>
                </c:pt>
                <c:pt idx="53">
                  <c:v>19366</c:v>
                </c:pt>
                <c:pt idx="54">
                  <c:v>19373</c:v>
                </c:pt>
                <c:pt idx="55">
                  <c:v>19380</c:v>
                </c:pt>
                <c:pt idx="56">
                  <c:v>19387</c:v>
                </c:pt>
                <c:pt idx="57">
                  <c:v>19394</c:v>
                </c:pt>
                <c:pt idx="58">
                  <c:v>19401</c:v>
                </c:pt>
                <c:pt idx="59">
                  <c:v>19408</c:v>
                </c:pt>
                <c:pt idx="60">
                  <c:v>19415</c:v>
                </c:pt>
                <c:pt idx="61">
                  <c:v>19422</c:v>
                </c:pt>
                <c:pt idx="62">
                  <c:v>19429</c:v>
                </c:pt>
                <c:pt idx="63">
                  <c:v>19436</c:v>
                </c:pt>
                <c:pt idx="64">
                  <c:v>19443</c:v>
                </c:pt>
                <c:pt idx="65">
                  <c:v>19450</c:v>
                </c:pt>
                <c:pt idx="66">
                  <c:v>19457</c:v>
                </c:pt>
                <c:pt idx="67">
                  <c:v>19464</c:v>
                </c:pt>
                <c:pt idx="68">
                  <c:v>19471</c:v>
                </c:pt>
                <c:pt idx="69">
                  <c:v>19478</c:v>
                </c:pt>
                <c:pt idx="70">
                  <c:v>19485</c:v>
                </c:pt>
                <c:pt idx="71">
                  <c:v>19492</c:v>
                </c:pt>
                <c:pt idx="72">
                  <c:v>19499</c:v>
                </c:pt>
                <c:pt idx="73">
                  <c:v>19506</c:v>
                </c:pt>
                <c:pt idx="74">
                  <c:v>19513</c:v>
                </c:pt>
                <c:pt idx="75">
                  <c:v>19520</c:v>
                </c:pt>
                <c:pt idx="76">
                  <c:v>19527</c:v>
                </c:pt>
                <c:pt idx="77">
                  <c:v>19534</c:v>
                </c:pt>
                <c:pt idx="78">
                  <c:v>19541</c:v>
                </c:pt>
                <c:pt idx="79">
                  <c:v>19548</c:v>
                </c:pt>
                <c:pt idx="80">
                  <c:v>19555</c:v>
                </c:pt>
                <c:pt idx="81">
                  <c:v>19562</c:v>
                </c:pt>
                <c:pt idx="82">
                  <c:v>19569</c:v>
                </c:pt>
                <c:pt idx="83">
                  <c:v>19576</c:v>
                </c:pt>
                <c:pt idx="84">
                  <c:v>19583</c:v>
                </c:pt>
                <c:pt idx="85">
                  <c:v>19590</c:v>
                </c:pt>
                <c:pt idx="86">
                  <c:v>19597</c:v>
                </c:pt>
                <c:pt idx="87">
                  <c:v>19604</c:v>
                </c:pt>
                <c:pt idx="88">
                  <c:v>19611</c:v>
                </c:pt>
                <c:pt idx="89">
                  <c:v>19618</c:v>
                </c:pt>
                <c:pt idx="90">
                  <c:v>19625</c:v>
                </c:pt>
                <c:pt idx="91">
                  <c:v>19632</c:v>
                </c:pt>
                <c:pt idx="92">
                  <c:v>19639</c:v>
                </c:pt>
                <c:pt idx="93">
                  <c:v>19646</c:v>
                </c:pt>
                <c:pt idx="94">
                  <c:v>19653</c:v>
                </c:pt>
                <c:pt idx="95">
                  <c:v>19660</c:v>
                </c:pt>
                <c:pt idx="96">
                  <c:v>19667</c:v>
                </c:pt>
                <c:pt idx="97">
                  <c:v>19674</c:v>
                </c:pt>
                <c:pt idx="98">
                  <c:v>19681</c:v>
                </c:pt>
                <c:pt idx="99">
                  <c:v>19688</c:v>
                </c:pt>
                <c:pt idx="100">
                  <c:v>19695</c:v>
                </c:pt>
                <c:pt idx="101">
                  <c:v>19702</c:v>
                </c:pt>
                <c:pt idx="102">
                  <c:v>19709</c:v>
                </c:pt>
                <c:pt idx="103">
                  <c:v>19716</c:v>
                </c:pt>
                <c:pt idx="104">
                  <c:v>19723</c:v>
                </c:pt>
                <c:pt idx="105">
                  <c:v>19730</c:v>
                </c:pt>
                <c:pt idx="106">
                  <c:v>19737</c:v>
                </c:pt>
                <c:pt idx="107">
                  <c:v>19744</c:v>
                </c:pt>
                <c:pt idx="108">
                  <c:v>19751</c:v>
                </c:pt>
                <c:pt idx="109">
                  <c:v>19758</c:v>
                </c:pt>
                <c:pt idx="110">
                  <c:v>19765</c:v>
                </c:pt>
                <c:pt idx="111">
                  <c:v>19772</c:v>
                </c:pt>
                <c:pt idx="112">
                  <c:v>19779</c:v>
                </c:pt>
                <c:pt idx="113">
                  <c:v>19786</c:v>
                </c:pt>
                <c:pt idx="114">
                  <c:v>19793</c:v>
                </c:pt>
                <c:pt idx="115">
                  <c:v>19800</c:v>
                </c:pt>
                <c:pt idx="116">
                  <c:v>19807</c:v>
                </c:pt>
                <c:pt idx="117">
                  <c:v>19814</c:v>
                </c:pt>
                <c:pt idx="118">
                  <c:v>19821</c:v>
                </c:pt>
                <c:pt idx="119">
                  <c:v>19828</c:v>
                </c:pt>
                <c:pt idx="120">
                  <c:v>19835</c:v>
                </c:pt>
                <c:pt idx="121">
                  <c:v>19842</c:v>
                </c:pt>
                <c:pt idx="122">
                  <c:v>19849</c:v>
                </c:pt>
                <c:pt idx="123">
                  <c:v>19856</c:v>
                </c:pt>
                <c:pt idx="124">
                  <c:v>19863</c:v>
                </c:pt>
                <c:pt idx="125">
                  <c:v>19870</c:v>
                </c:pt>
                <c:pt idx="126">
                  <c:v>19877</c:v>
                </c:pt>
                <c:pt idx="127">
                  <c:v>19884</c:v>
                </c:pt>
                <c:pt idx="128">
                  <c:v>19891</c:v>
                </c:pt>
                <c:pt idx="129">
                  <c:v>19898</c:v>
                </c:pt>
                <c:pt idx="130">
                  <c:v>19905</c:v>
                </c:pt>
                <c:pt idx="131">
                  <c:v>19912</c:v>
                </c:pt>
                <c:pt idx="132">
                  <c:v>19919</c:v>
                </c:pt>
                <c:pt idx="133">
                  <c:v>19926</c:v>
                </c:pt>
                <c:pt idx="134">
                  <c:v>19933</c:v>
                </c:pt>
                <c:pt idx="135">
                  <c:v>19940</c:v>
                </c:pt>
                <c:pt idx="136">
                  <c:v>19947</c:v>
                </c:pt>
                <c:pt idx="137">
                  <c:v>19954</c:v>
                </c:pt>
                <c:pt idx="138">
                  <c:v>19961</c:v>
                </c:pt>
                <c:pt idx="139">
                  <c:v>19968</c:v>
                </c:pt>
                <c:pt idx="140">
                  <c:v>19975</c:v>
                </c:pt>
                <c:pt idx="141">
                  <c:v>19982</c:v>
                </c:pt>
                <c:pt idx="142">
                  <c:v>19989</c:v>
                </c:pt>
                <c:pt idx="143">
                  <c:v>19996</c:v>
                </c:pt>
                <c:pt idx="144">
                  <c:v>20003</c:v>
                </c:pt>
                <c:pt idx="145">
                  <c:v>20010</c:v>
                </c:pt>
                <c:pt idx="146">
                  <c:v>20017</c:v>
                </c:pt>
                <c:pt idx="147">
                  <c:v>20024</c:v>
                </c:pt>
                <c:pt idx="148">
                  <c:v>20031</c:v>
                </c:pt>
                <c:pt idx="149">
                  <c:v>20038</c:v>
                </c:pt>
                <c:pt idx="150">
                  <c:v>20045</c:v>
                </c:pt>
                <c:pt idx="151">
                  <c:v>20052</c:v>
                </c:pt>
                <c:pt idx="152">
                  <c:v>20059</c:v>
                </c:pt>
                <c:pt idx="153">
                  <c:v>20066</c:v>
                </c:pt>
                <c:pt idx="154">
                  <c:v>20073</c:v>
                </c:pt>
                <c:pt idx="155">
                  <c:v>20080</c:v>
                </c:pt>
                <c:pt idx="156">
                  <c:v>20087</c:v>
                </c:pt>
                <c:pt idx="157">
                  <c:v>20094</c:v>
                </c:pt>
                <c:pt idx="158">
                  <c:v>20101</c:v>
                </c:pt>
                <c:pt idx="159">
                  <c:v>20108</c:v>
                </c:pt>
                <c:pt idx="160">
                  <c:v>20115</c:v>
                </c:pt>
                <c:pt idx="161">
                  <c:v>20122</c:v>
                </c:pt>
                <c:pt idx="162">
                  <c:v>20129</c:v>
                </c:pt>
                <c:pt idx="163">
                  <c:v>20136</c:v>
                </c:pt>
                <c:pt idx="164">
                  <c:v>20143</c:v>
                </c:pt>
                <c:pt idx="165">
                  <c:v>20150</c:v>
                </c:pt>
                <c:pt idx="166">
                  <c:v>20157</c:v>
                </c:pt>
                <c:pt idx="167">
                  <c:v>20164</c:v>
                </c:pt>
                <c:pt idx="168">
                  <c:v>20171</c:v>
                </c:pt>
                <c:pt idx="169">
                  <c:v>20178</c:v>
                </c:pt>
                <c:pt idx="170">
                  <c:v>20185</c:v>
                </c:pt>
                <c:pt idx="171">
                  <c:v>20192</c:v>
                </c:pt>
                <c:pt idx="172">
                  <c:v>20199</c:v>
                </c:pt>
                <c:pt idx="173">
                  <c:v>20206</c:v>
                </c:pt>
                <c:pt idx="174">
                  <c:v>20213</c:v>
                </c:pt>
                <c:pt idx="175">
                  <c:v>20220</c:v>
                </c:pt>
                <c:pt idx="176">
                  <c:v>20227</c:v>
                </c:pt>
                <c:pt idx="177">
                  <c:v>20234</c:v>
                </c:pt>
                <c:pt idx="178">
                  <c:v>20241</c:v>
                </c:pt>
                <c:pt idx="179">
                  <c:v>20248</c:v>
                </c:pt>
                <c:pt idx="180">
                  <c:v>20255</c:v>
                </c:pt>
                <c:pt idx="181">
                  <c:v>20262</c:v>
                </c:pt>
                <c:pt idx="182">
                  <c:v>20269</c:v>
                </c:pt>
                <c:pt idx="183">
                  <c:v>20276</c:v>
                </c:pt>
                <c:pt idx="184">
                  <c:v>20283</c:v>
                </c:pt>
                <c:pt idx="185">
                  <c:v>20290</c:v>
                </c:pt>
                <c:pt idx="186">
                  <c:v>20297</c:v>
                </c:pt>
                <c:pt idx="187">
                  <c:v>20304</c:v>
                </c:pt>
                <c:pt idx="188">
                  <c:v>20311</c:v>
                </c:pt>
                <c:pt idx="189">
                  <c:v>20318</c:v>
                </c:pt>
                <c:pt idx="190">
                  <c:v>20325</c:v>
                </c:pt>
                <c:pt idx="191">
                  <c:v>20332</c:v>
                </c:pt>
                <c:pt idx="192">
                  <c:v>20339</c:v>
                </c:pt>
                <c:pt idx="193">
                  <c:v>20346</c:v>
                </c:pt>
                <c:pt idx="194">
                  <c:v>20353</c:v>
                </c:pt>
                <c:pt idx="195">
                  <c:v>20360</c:v>
                </c:pt>
                <c:pt idx="196">
                  <c:v>20367</c:v>
                </c:pt>
                <c:pt idx="197">
                  <c:v>20374</c:v>
                </c:pt>
                <c:pt idx="198">
                  <c:v>20381</c:v>
                </c:pt>
                <c:pt idx="199">
                  <c:v>20388</c:v>
                </c:pt>
                <c:pt idx="200">
                  <c:v>20395</c:v>
                </c:pt>
                <c:pt idx="201">
                  <c:v>20402</c:v>
                </c:pt>
                <c:pt idx="202">
                  <c:v>20409</c:v>
                </c:pt>
                <c:pt idx="203">
                  <c:v>20416</c:v>
                </c:pt>
                <c:pt idx="204">
                  <c:v>20423</c:v>
                </c:pt>
                <c:pt idx="205">
                  <c:v>20430</c:v>
                </c:pt>
                <c:pt idx="206">
                  <c:v>20437</c:v>
                </c:pt>
                <c:pt idx="207">
                  <c:v>20444</c:v>
                </c:pt>
                <c:pt idx="208">
                  <c:v>20451</c:v>
                </c:pt>
                <c:pt idx="209">
                  <c:v>20458</c:v>
                </c:pt>
                <c:pt idx="210">
                  <c:v>20465</c:v>
                </c:pt>
                <c:pt idx="211">
                  <c:v>20472</c:v>
                </c:pt>
                <c:pt idx="212">
                  <c:v>20479</c:v>
                </c:pt>
                <c:pt idx="213">
                  <c:v>20486</c:v>
                </c:pt>
                <c:pt idx="214">
                  <c:v>20493</c:v>
                </c:pt>
                <c:pt idx="215">
                  <c:v>20500</c:v>
                </c:pt>
                <c:pt idx="216">
                  <c:v>20507</c:v>
                </c:pt>
                <c:pt idx="217">
                  <c:v>20514</c:v>
                </c:pt>
                <c:pt idx="218">
                  <c:v>20521</c:v>
                </c:pt>
                <c:pt idx="219">
                  <c:v>20528</c:v>
                </c:pt>
                <c:pt idx="220">
                  <c:v>20535</c:v>
                </c:pt>
                <c:pt idx="221">
                  <c:v>20542</c:v>
                </c:pt>
                <c:pt idx="222">
                  <c:v>20549</c:v>
                </c:pt>
                <c:pt idx="223">
                  <c:v>20556</c:v>
                </c:pt>
                <c:pt idx="224">
                  <c:v>20563</c:v>
                </c:pt>
                <c:pt idx="225">
                  <c:v>20570</c:v>
                </c:pt>
                <c:pt idx="226">
                  <c:v>20577</c:v>
                </c:pt>
                <c:pt idx="227">
                  <c:v>20584</c:v>
                </c:pt>
                <c:pt idx="228">
                  <c:v>20591</c:v>
                </c:pt>
                <c:pt idx="229">
                  <c:v>20598</c:v>
                </c:pt>
                <c:pt idx="230">
                  <c:v>20605</c:v>
                </c:pt>
                <c:pt idx="231">
                  <c:v>20612</c:v>
                </c:pt>
                <c:pt idx="232">
                  <c:v>20619</c:v>
                </c:pt>
                <c:pt idx="233">
                  <c:v>20626</c:v>
                </c:pt>
                <c:pt idx="234">
                  <c:v>20633</c:v>
                </c:pt>
                <c:pt idx="235">
                  <c:v>20640</c:v>
                </c:pt>
                <c:pt idx="236">
                  <c:v>20647</c:v>
                </c:pt>
                <c:pt idx="237">
                  <c:v>20654</c:v>
                </c:pt>
                <c:pt idx="238">
                  <c:v>20661</c:v>
                </c:pt>
                <c:pt idx="239">
                  <c:v>20668</c:v>
                </c:pt>
                <c:pt idx="240">
                  <c:v>20675</c:v>
                </c:pt>
                <c:pt idx="241">
                  <c:v>20682</c:v>
                </c:pt>
                <c:pt idx="242">
                  <c:v>20689</c:v>
                </c:pt>
                <c:pt idx="243">
                  <c:v>20696</c:v>
                </c:pt>
                <c:pt idx="244">
                  <c:v>20703</c:v>
                </c:pt>
                <c:pt idx="245">
                  <c:v>20710</c:v>
                </c:pt>
                <c:pt idx="246">
                  <c:v>20717</c:v>
                </c:pt>
                <c:pt idx="247">
                  <c:v>20724</c:v>
                </c:pt>
                <c:pt idx="248">
                  <c:v>20731</c:v>
                </c:pt>
                <c:pt idx="249">
                  <c:v>20738</c:v>
                </c:pt>
                <c:pt idx="250">
                  <c:v>20745</c:v>
                </c:pt>
                <c:pt idx="251">
                  <c:v>20752</c:v>
                </c:pt>
                <c:pt idx="252">
                  <c:v>20759</c:v>
                </c:pt>
                <c:pt idx="253">
                  <c:v>20766</c:v>
                </c:pt>
                <c:pt idx="254">
                  <c:v>20773</c:v>
                </c:pt>
                <c:pt idx="255">
                  <c:v>20780</c:v>
                </c:pt>
                <c:pt idx="256">
                  <c:v>20787</c:v>
                </c:pt>
                <c:pt idx="257">
                  <c:v>20794</c:v>
                </c:pt>
                <c:pt idx="258">
                  <c:v>20801</c:v>
                </c:pt>
                <c:pt idx="259">
                  <c:v>20808</c:v>
                </c:pt>
                <c:pt idx="260">
                  <c:v>20815</c:v>
                </c:pt>
                <c:pt idx="261">
                  <c:v>20822</c:v>
                </c:pt>
                <c:pt idx="262">
                  <c:v>20829</c:v>
                </c:pt>
                <c:pt idx="263">
                  <c:v>20836</c:v>
                </c:pt>
                <c:pt idx="264">
                  <c:v>20843</c:v>
                </c:pt>
                <c:pt idx="265">
                  <c:v>20850</c:v>
                </c:pt>
                <c:pt idx="266">
                  <c:v>20857</c:v>
                </c:pt>
                <c:pt idx="267">
                  <c:v>20864</c:v>
                </c:pt>
                <c:pt idx="268">
                  <c:v>20871</c:v>
                </c:pt>
                <c:pt idx="269">
                  <c:v>20878</c:v>
                </c:pt>
                <c:pt idx="270">
                  <c:v>20885</c:v>
                </c:pt>
                <c:pt idx="271">
                  <c:v>20892</c:v>
                </c:pt>
                <c:pt idx="272">
                  <c:v>20899</c:v>
                </c:pt>
                <c:pt idx="273">
                  <c:v>20906</c:v>
                </c:pt>
                <c:pt idx="274">
                  <c:v>20913</c:v>
                </c:pt>
                <c:pt idx="275">
                  <c:v>20920</c:v>
                </c:pt>
                <c:pt idx="276">
                  <c:v>20927</c:v>
                </c:pt>
                <c:pt idx="277">
                  <c:v>20934</c:v>
                </c:pt>
                <c:pt idx="278">
                  <c:v>20941</c:v>
                </c:pt>
                <c:pt idx="279">
                  <c:v>20948</c:v>
                </c:pt>
                <c:pt idx="280">
                  <c:v>20955</c:v>
                </c:pt>
                <c:pt idx="281">
                  <c:v>20962</c:v>
                </c:pt>
                <c:pt idx="282">
                  <c:v>20969</c:v>
                </c:pt>
                <c:pt idx="283">
                  <c:v>20976</c:v>
                </c:pt>
                <c:pt idx="284">
                  <c:v>20983</c:v>
                </c:pt>
                <c:pt idx="285">
                  <c:v>20990</c:v>
                </c:pt>
                <c:pt idx="286">
                  <c:v>20997</c:v>
                </c:pt>
                <c:pt idx="287">
                  <c:v>21004</c:v>
                </c:pt>
                <c:pt idx="288">
                  <c:v>21011</c:v>
                </c:pt>
                <c:pt idx="289">
                  <c:v>21018</c:v>
                </c:pt>
                <c:pt idx="290">
                  <c:v>21025</c:v>
                </c:pt>
                <c:pt idx="291">
                  <c:v>21032</c:v>
                </c:pt>
                <c:pt idx="292">
                  <c:v>21039</c:v>
                </c:pt>
                <c:pt idx="293">
                  <c:v>21046</c:v>
                </c:pt>
                <c:pt idx="294">
                  <c:v>21053</c:v>
                </c:pt>
                <c:pt idx="295">
                  <c:v>21060</c:v>
                </c:pt>
                <c:pt idx="296">
                  <c:v>21067</c:v>
                </c:pt>
                <c:pt idx="297">
                  <c:v>21074</c:v>
                </c:pt>
                <c:pt idx="298">
                  <c:v>21081</c:v>
                </c:pt>
                <c:pt idx="299">
                  <c:v>21088</c:v>
                </c:pt>
                <c:pt idx="300">
                  <c:v>21095</c:v>
                </c:pt>
                <c:pt idx="301">
                  <c:v>21102</c:v>
                </c:pt>
                <c:pt idx="302">
                  <c:v>21109</c:v>
                </c:pt>
                <c:pt idx="303">
                  <c:v>21116</c:v>
                </c:pt>
                <c:pt idx="304">
                  <c:v>21123</c:v>
                </c:pt>
                <c:pt idx="305">
                  <c:v>21130</c:v>
                </c:pt>
                <c:pt idx="306">
                  <c:v>21137</c:v>
                </c:pt>
                <c:pt idx="307">
                  <c:v>21144</c:v>
                </c:pt>
                <c:pt idx="308">
                  <c:v>21151</c:v>
                </c:pt>
                <c:pt idx="309">
                  <c:v>21158</c:v>
                </c:pt>
                <c:pt idx="310">
                  <c:v>21165</c:v>
                </c:pt>
                <c:pt idx="311">
                  <c:v>21172</c:v>
                </c:pt>
                <c:pt idx="312">
                  <c:v>21179</c:v>
                </c:pt>
              </c:numCache>
            </c:numRef>
          </c:xVal>
          <c:yVal>
            <c:numRef>
              <c:f>Sheet1!$A$2:$LA$2</c:f>
              <c:numCache>
                <c:formatCode>General</c:formatCode>
                <c:ptCount val="313"/>
                <c:pt idx="0">
                  <c:v>76.75</c:v>
                </c:pt>
                <c:pt idx="1">
                  <c:v>76.75</c:v>
                </c:pt>
                <c:pt idx="2">
                  <c:v>76.75</c:v>
                </c:pt>
                <c:pt idx="3">
                  <c:v>76.75</c:v>
                </c:pt>
                <c:pt idx="4">
                  <c:v>84.15</c:v>
                </c:pt>
                <c:pt idx="5">
                  <c:v>84.15</c:v>
                </c:pt>
                <c:pt idx="6">
                  <c:v>84.15</c:v>
                </c:pt>
                <c:pt idx="7">
                  <c:v>84.15</c:v>
                </c:pt>
                <c:pt idx="8">
                  <c:v>96.4</c:v>
                </c:pt>
                <c:pt idx="9">
                  <c:v>96.4</c:v>
                </c:pt>
                <c:pt idx="10">
                  <c:v>96.4</c:v>
                </c:pt>
                <c:pt idx="11">
                  <c:v>96.4</c:v>
                </c:pt>
                <c:pt idx="12">
                  <c:v>122.1</c:v>
                </c:pt>
                <c:pt idx="13">
                  <c:v>122.1</c:v>
                </c:pt>
                <c:pt idx="14">
                  <c:v>122.1</c:v>
                </c:pt>
                <c:pt idx="15">
                  <c:v>122.1</c:v>
                </c:pt>
                <c:pt idx="16">
                  <c:v>98.1</c:v>
                </c:pt>
                <c:pt idx="17">
                  <c:v>98.1</c:v>
                </c:pt>
                <c:pt idx="18">
                  <c:v>98.1</c:v>
                </c:pt>
                <c:pt idx="19">
                  <c:v>98.1</c:v>
                </c:pt>
                <c:pt idx="20">
                  <c:v>98.1</c:v>
                </c:pt>
                <c:pt idx="21">
                  <c:v>88.85</c:v>
                </c:pt>
                <c:pt idx="22">
                  <c:v>88.85</c:v>
                </c:pt>
                <c:pt idx="23">
                  <c:v>88.85</c:v>
                </c:pt>
                <c:pt idx="24">
                  <c:v>88.85</c:v>
                </c:pt>
                <c:pt idx="25">
                  <c:v>143</c:v>
                </c:pt>
                <c:pt idx="26">
                  <c:v>143</c:v>
                </c:pt>
                <c:pt idx="27">
                  <c:v>143</c:v>
                </c:pt>
                <c:pt idx="28">
                  <c:v>143</c:v>
                </c:pt>
                <c:pt idx="29">
                  <c:v>143</c:v>
                </c:pt>
                <c:pt idx="30">
                  <c:v>192.8</c:v>
                </c:pt>
                <c:pt idx="31">
                  <c:v>192.8</c:v>
                </c:pt>
                <c:pt idx="32">
                  <c:v>192.8</c:v>
                </c:pt>
                <c:pt idx="33">
                  <c:v>192.8</c:v>
                </c:pt>
                <c:pt idx="34">
                  <c:v>233.05</c:v>
                </c:pt>
                <c:pt idx="35">
                  <c:v>233.05</c:v>
                </c:pt>
                <c:pt idx="36">
                  <c:v>233.05</c:v>
                </c:pt>
                <c:pt idx="37">
                  <c:v>233.05</c:v>
                </c:pt>
                <c:pt idx="38">
                  <c:v>165.5</c:v>
                </c:pt>
                <c:pt idx="39">
                  <c:v>165.5</c:v>
                </c:pt>
                <c:pt idx="40">
                  <c:v>165.5</c:v>
                </c:pt>
                <c:pt idx="41">
                  <c:v>165.5</c:v>
                </c:pt>
                <c:pt idx="42">
                  <c:v>165.5</c:v>
                </c:pt>
                <c:pt idx="43">
                  <c:v>80.05</c:v>
                </c:pt>
                <c:pt idx="44">
                  <c:v>80.05</c:v>
                </c:pt>
                <c:pt idx="45">
                  <c:v>80.05</c:v>
                </c:pt>
                <c:pt idx="46">
                  <c:v>80.05</c:v>
                </c:pt>
                <c:pt idx="47">
                  <c:v>139.05000000000001</c:v>
                </c:pt>
                <c:pt idx="48">
                  <c:v>139.05000000000001</c:v>
                </c:pt>
                <c:pt idx="49">
                  <c:v>139.05000000000001</c:v>
                </c:pt>
                <c:pt idx="50">
                  <c:v>139.05000000000001</c:v>
                </c:pt>
                <c:pt idx="51">
                  <c:v>75.55</c:v>
                </c:pt>
                <c:pt idx="52">
                  <c:v>75.55</c:v>
                </c:pt>
                <c:pt idx="53">
                  <c:v>75.55</c:v>
                </c:pt>
                <c:pt idx="54">
                  <c:v>75.55</c:v>
                </c:pt>
                <c:pt idx="55">
                  <c:v>75.55</c:v>
                </c:pt>
                <c:pt idx="56">
                  <c:v>58.05</c:v>
                </c:pt>
                <c:pt idx="57">
                  <c:v>58.05</c:v>
                </c:pt>
                <c:pt idx="58">
                  <c:v>58.05</c:v>
                </c:pt>
                <c:pt idx="59">
                  <c:v>58.05</c:v>
                </c:pt>
                <c:pt idx="60">
                  <c:v>46.67</c:v>
                </c:pt>
                <c:pt idx="61">
                  <c:v>46.67</c:v>
                </c:pt>
                <c:pt idx="62">
                  <c:v>46.67</c:v>
                </c:pt>
                <c:pt idx="63">
                  <c:v>46.67</c:v>
                </c:pt>
                <c:pt idx="64">
                  <c:v>47.05</c:v>
                </c:pt>
                <c:pt idx="65">
                  <c:v>47.05</c:v>
                </c:pt>
                <c:pt idx="66">
                  <c:v>47.05</c:v>
                </c:pt>
                <c:pt idx="67">
                  <c:v>47.05</c:v>
                </c:pt>
                <c:pt idx="68">
                  <c:v>47.05</c:v>
                </c:pt>
                <c:pt idx="69">
                  <c:v>38.299999999999997</c:v>
                </c:pt>
                <c:pt idx="70">
                  <c:v>38.299999999999997</c:v>
                </c:pt>
                <c:pt idx="71">
                  <c:v>38.299999999999997</c:v>
                </c:pt>
                <c:pt idx="72">
                  <c:v>38.299999999999997</c:v>
                </c:pt>
                <c:pt idx="73">
                  <c:v>25.3</c:v>
                </c:pt>
                <c:pt idx="74">
                  <c:v>25.3</c:v>
                </c:pt>
                <c:pt idx="75">
                  <c:v>25.3</c:v>
                </c:pt>
                <c:pt idx="76">
                  <c:v>25.3</c:v>
                </c:pt>
                <c:pt idx="77">
                  <c:v>35.17</c:v>
                </c:pt>
                <c:pt idx="78">
                  <c:v>35.17</c:v>
                </c:pt>
                <c:pt idx="79">
                  <c:v>35.17</c:v>
                </c:pt>
                <c:pt idx="80">
                  <c:v>35.17</c:v>
                </c:pt>
                <c:pt idx="81">
                  <c:v>35.17</c:v>
                </c:pt>
                <c:pt idx="82">
                  <c:v>27.2</c:v>
                </c:pt>
                <c:pt idx="83">
                  <c:v>27.2</c:v>
                </c:pt>
                <c:pt idx="84">
                  <c:v>27.2</c:v>
                </c:pt>
                <c:pt idx="85">
                  <c:v>27.2</c:v>
                </c:pt>
                <c:pt idx="86">
                  <c:v>31.55</c:v>
                </c:pt>
                <c:pt idx="87">
                  <c:v>31.55</c:v>
                </c:pt>
                <c:pt idx="88">
                  <c:v>31.55</c:v>
                </c:pt>
                <c:pt idx="89">
                  <c:v>31.55</c:v>
                </c:pt>
                <c:pt idx="90">
                  <c:v>38.4</c:v>
                </c:pt>
                <c:pt idx="91">
                  <c:v>38.4</c:v>
                </c:pt>
                <c:pt idx="92">
                  <c:v>38.4</c:v>
                </c:pt>
                <c:pt idx="93">
                  <c:v>38.4</c:v>
                </c:pt>
                <c:pt idx="94">
                  <c:v>38.4</c:v>
                </c:pt>
                <c:pt idx="95">
                  <c:v>44.65</c:v>
                </c:pt>
                <c:pt idx="96">
                  <c:v>44.65</c:v>
                </c:pt>
                <c:pt idx="97">
                  <c:v>44.65</c:v>
                </c:pt>
                <c:pt idx="98">
                  <c:v>44.65</c:v>
                </c:pt>
                <c:pt idx="99">
                  <c:v>40.85</c:v>
                </c:pt>
                <c:pt idx="100">
                  <c:v>40.85</c:v>
                </c:pt>
                <c:pt idx="101">
                  <c:v>40.85</c:v>
                </c:pt>
                <c:pt idx="102">
                  <c:v>40.85</c:v>
                </c:pt>
                <c:pt idx="103">
                  <c:v>40.85</c:v>
                </c:pt>
                <c:pt idx="104">
                  <c:v>32.35</c:v>
                </c:pt>
                <c:pt idx="105">
                  <c:v>32.35</c:v>
                </c:pt>
                <c:pt idx="106">
                  <c:v>32.35</c:v>
                </c:pt>
                <c:pt idx="107">
                  <c:v>32.35</c:v>
                </c:pt>
                <c:pt idx="108">
                  <c:v>30.22</c:v>
                </c:pt>
                <c:pt idx="109">
                  <c:v>30.22</c:v>
                </c:pt>
                <c:pt idx="110">
                  <c:v>30.22</c:v>
                </c:pt>
                <c:pt idx="111">
                  <c:v>30.22</c:v>
                </c:pt>
                <c:pt idx="112">
                  <c:v>25.05</c:v>
                </c:pt>
                <c:pt idx="113">
                  <c:v>25.05</c:v>
                </c:pt>
                <c:pt idx="114">
                  <c:v>25.05</c:v>
                </c:pt>
                <c:pt idx="115">
                  <c:v>25.05</c:v>
                </c:pt>
                <c:pt idx="116">
                  <c:v>25.05</c:v>
                </c:pt>
                <c:pt idx="117">
                  <c:v>27.25</c:v>
                </c:pt>
                <c:pt idx="118">
                  <c:v>27.25</c:v>
                </c:pt>
                <c:pt idx="119">
                  <c:v>27.25</c:v>
                </c:pt>
                <c:pt idx="120">
                  <c:v>27.25</c:v>
                </c:pt>
                <c:pt idx="121">
                  <c:v>29.1</c:v>
                </c:pt>
                <c:pt idx="122">
                  <c:v>29.1</c:v>
                </c:pt>
                <c:pt idx="123">
                  <c:v>29.1</c:v>
                </c:pt>
                <c:pt idx="124">
                  <c:v>29.1</c:v>
                </c:pt>
                <c:pt idx="125">
                  <c:v>34.549999999999997</c:v>
                </c:pt>
                <c:pt idx="126">
                  <c:v>34.549999999999997</c:v>
                </c:pt>
                <c:pt idx="127">
                  <c:v>34.549999999999997</c:v>
                </c:pt>
                <c:pt idx="128">
                  <c:v>34.549999999999997</c:v>
                </c:pt>
                <c:pt idx="129">
                  <c:v>34.549999999999997</c:v>
                </c:pt>
                <c:pt idx="130">
                  <c:v>34.049999999999997</c:v>
                </c:pt>
                <c:pt idx="131">
                  <c:v>34.049999999999997</c:v>
                </c:pt>
                <c:pt idx="132">
                  <c:v>34.049999999999997</c:v>
                </c:pt>
                <c:pt idx="133">
                  <c:v>34.049999999999997</c:v>
                </c:pt>
                <c:pt idx="134">
                  <c:v>35.1</c:v>
                </c:pt>
                <c:pt idx="135">
                  <c:v>35.1</c:v>
                </c:pt>
                <c:pt idx="136">
                  <c:v>35.1</c:v>
                </c:pt>
                <c:pt idx="137">
                  <c:v>35.1</c:v>
                </c:pt>
                <c:pt idx="138">
                  <c:v>38.75</c:v>
                </c:pt>
                <c:pt idx="139">
                  <c:v>38.75</c:v>
                </c:pt>
                <c:pt idx="140">
                  <c:v>38.75</c:v>
                </c:pt>
                <c:pt idx="141">
                  <c:v>38.75</c:v>
                </c:pt>
                <c:pt idx="142">
                  <c:v>38.75</c:v>
                </c:pt>
                <c:pt idx="143">
                  <c:v>38.700000000000003</c:v>
                </c:pt>
                <c:pt idx="144">
                  <c:v>38.700000000000003</c:v>
                </c:pt>
                <c:pt idx="145">
                  <c:v>38.700000000000003</c:v>
                </c:pt>
                <c:pt idx="146">
                  <c:v>38.700000000000003</c:v>
                </c:pt>
                <c:pt idx="147">
                  <c:v>40.08</c:v>
                </c:pt>
                <c:pt idx="148">
                  <c:v>40.08</c:v>
                </c:pt>
                <c:pt idx="149">
                  <c:v>40.08</c:v>
                </c:pt>
                <c:pt idx="150">
                  <c:v>40.08</c:v>
                </c:pt>
                <c:pt idx="151">
                  <c:v>47.15</c:v>
                </c:pt>
                <c:pt idx="152">
                  <c:v>47.15</c:v>
                </c:pt>
                <c:pt idx="153">
                  <c:v>47.15</c:v>
                </c:pt>
                <c:pt idx="154">
                  <c:v>47.15</c:v>
                </c:pt>
                <c:pt idx="155">
                  <c:v>47.15</c:v>
                </c:pt>
                <c:pt idx="156">
                  <c:v>48.6</c:v>
                </c:pt>
                <c:pt idx="157">
                  <c:v>48.6</c:v>
                </c:pt>
                <c:pt idx="158">
                  <c:v>48.6</c:v>
                </c:pt>
                <c:pt idx="159">
                  <c:v>48.6</c:v>
                </c:pt>
                <c:pt idx="160">
                  <c:v>52.97</c:v>
                </c:pt>
                <c:pt idx="161">
                  <c:v>52.97</c:v>
                </c:pt>
                <c:pt idx="162">
                  <c:v>52.97</c:v>
                </c:pt>
                <c:pt idx="163">
                  <c:v>52.97</c:v>
                </c:pt>
                <c:pt idx="164">
                  <c:v>44.22</c:v>
                </c:pt>
                <c:pt idx="165">
                  <c:v>44.22</c:v>
                </c:pt>
                <c:pt idx="166">
                  <c:v>44.22</c:v>
                </c:pt>
                <c:pt idx="167">
                  <c:v>44.22</c:v>
                </c:pt>
                <c:pt idx="168">
                  <c:v>44.22</c:v>
                </c:pt>
                <c:pt idx="169">
                  <c:v>42.38</c:v>
                </c:pt>
                <c:pt idx="170">
                  <c:v>42.38</c:v>
                </c:pt>
                <c:pt idx="171">
                  <c:v>42.38</c:v>
                </c:pt>
                <c:pt idx="172">
                  <c:v>42.38</c:v>
                </c:pt>
                <c:pt idx="173">
                  <c:v>42.33</c:v>
                </c:pt>
                <c:pt idx="174">
                  <c:v>42.3</c:v>
                </c:pt>
                <c:pt idx="175">
                  <c:v>42.3</c:v>
                </c:pt>
                <c:pt idx="176">
                  <c:v>42.3</c:v>
                </c:pt>
                <c:pt idx="177">
                  <c:v>42.3</c:v>
                </c:pt>
                <c:pt idx="178">
                  <c:v>42.3</c:v>
                </c:pt>
                <c:pt idx="179">
                  <c:v>42.3</c:v>
                </c:pt>
                <c:pt idx="180">
                  <c:v>42.3</c:v>
                </c:pt>
                <c:pt idx="181">
                  <c:v>42.3</c:v>
                </c:pt>
                <c:pt idx="182">
                  <c:v>42.37</c:v>
                </c:pt>
                <c:pt idx="183">
                  <c:v>42.38</c:v>
                </c:pt>
                <c:pt idx="184">
                  <c:v>42.38</c:v>
                </c:pt>
                <c:pt idx="185">
                  <c:v>42.38</c:v>
                </c:pt>
                <c:pt idx="186">
                  <c:v>42.38</c:v>
                </c:pt>
                <c:pt idx="187">
                  <c:v>42.38</c:v>
                </c:pt>
                <c:pt idx="188">
                  <c:v>42.38</c:v>
                </c:pt>
                <c:pt idx="189">
                  <c:v>42.38</c:v>
                </c:pt>
                <c:pt idx="190">
                  <c:v>42.38</c:v>
                </c:pt>
                <c:pt idx="191">
                  <c:v>42.38</c:v>
                </c:pt>
                <c:pt idx="192">
                  <c:v>42.38</c:v>
                </c:pt>
                <c:pt idx="193">
                  <c:v>42.38</c:v>
                </c:pt>
                <c:pt idx="194">
                  <c:v>42.38</c:v>
                </c:pt>
                <c:pt idx="195">
                  <c:v>41.22</c:v>
                </c:pt>
                <c:pt idx="196">
                  <c:v>40.75</c:v>
                </c:pt>
                <c:pt idx="197">
                  <c:v>40.75</c:v>
                </c:pt>
                <c:pt idx="198">
                  <c:v>40.75</c:v>
                </c:pt>
                <c:pt idx="199">
                  <c:v>40.75</c:v>
                </c:pt>
                <c:pt idx="200">
                  <c:v>40.75</c:v>
                </c:pt>
                <c:pt idx="201">
                  <c:v>40.75</c:v>
                </c:pt>
                <c:pt idx="202">
                  <c:v>40.75</c:v>
                </c:pt>
                <c:pt idx="203">
                  <c:v>40.75</c:v>
                </c:pt>
                <c:pt idx="204">
                  <c:v>40.75</c:v>
                </c:pt>
                <c:pt idx="205">
                  <c:v>40.75</c:v>
                </c:pt>
                <c:pt idx="206">
                  <c:v>40.75</c:v>
                </c:pt>
                <c:pt idx="207">
                  <c:v>40.75</c:v>
                </c:pt>
                <c:pt idx="208">
                  <c:v>37.01</c:v>
                </c:pt>
                <c:pt idx="209">
                  <c:v>34.200000000000003</c:v>
                </c:pt>
                <c:pt idx="210">
                  <c:v>34.200000000000003</c:v>
                </c:pt>
                <c:pt idx="211">
                  <c:v>34.200000000000003</c:v>
                </c:pt>
                <c:pt idx="212">
                  <c:v>34.200000000000003</c:v>
                </c:pt>
                <c:pt idx="213">
                  <c:v>34.200000000000003</c:v>
                </c:pt>
                <c:pt idx="214">
                  <c:v>34.200000000000003</c:v>
                </c:pt>
                <c:pt idx="215">
                  <c:v>34.200000000000003</c:v>
                </c:pt>
                <c:pt idx="216">
                  <c:v>34.200000000000003</c:v>
                </c:pt>
                <c:pt idx="217">
                  <c:v>34.200000000000003</c:v>
                </c:pt>
                <c:pt idx="218">
                  <c:v>34.200000000000003</c:v>
                </c:pt>
                <c:pt idx="219">
                  <c:v>34.200000000000003</c:v>
                </c:pt>
                <c:pt idx="220">
                  <c:v>34.200000000000003</c:v>
                </c:pt>
                <c:pt idx="221">
                  <c:v>34.200000000000003</c:v>
                </c:pt>
                <c:pt idx="222">
                  <c:v>34.200000000000003</c:v>
                </c:pt>
                <c:pt idx="223">
                  <c:v>34.200000000000003</c:v>
                </c:pt>
                <c:pt idx="224">
                  <c:v>34.200000000000003</c:v>
                </c:pt>
                <c:pt idx="225">
                  <c:v>34.200000000000003</c:v>
                </c:pt>
                <c:pt idx="226">
                  <c:v>34.200000000000003</c:v>
                </c:pt>
                <c:pt idx="227">
                  <c:v>34.200000000000003</c:v>
                </c:pt>
                <c:pt idx="228">
                  <c:v>34.200000000000003</c:v>
                </c:pt>
                <c:pt idx="229">
                  <c:v>34.200000000000003</c:v>
                </c:pt>
                <c:pt idx="230">
                  <c:v>34.200000000000003</c:v>
                </c:pt>
                <c:pt idx="231">
                  <c:v>34.200000000000003</c:v>
                </c:pt>
                <c:pt idx="232">
                  <c:v>34.200000000000003</c:v>
                </c:pt>
                <c:pt idx="233">
                  <c:v>34.200000000000003</c:v>
                </c:pt>
                <c:pt idx="234">
                  <c:v>34.200000000000003</c:v>
                </c:pt>
                <c:pt idx="235">
                  <c:v>34.200000000000003</c:v>
                </c:pt>
                <c:pt idx="236">
                  <c:v>34.200000000000003</c:v>
                </c:pt>
                <c:pt idx="237">
                  <c:v>34.200000000000003</c:v>
                </c:pt>
                <c:pt idx="238">
                  <c:v>34.200000000000003</c:v>
                </c:pt>
                <c:pt idx="239">
                  <c:v>34.200000000000003</c:v>
                </c:pt>
                <c:pt idx="240">
                  <c:v>34.200000000000003</c:v>
                </c:pt>
                <c:pt idx="241">
                  <c:v>34.200000000000003</c:v>
                </c:pt>
                <c:pt idx="242">
                  <c:v>34.200000000000003</c:v>
                </c:pt>
                <c:pt idx="243">
                  <c:v>34.200000000000003</c:v>
                </c:pt>
                <c:pt idx="244">
                  <c:v>34.200000000000003</c:v>
                </c:pt>
                <c:pt idx="245">
                  <c:v>34.200000000000003</c:v>
                </c:pt>
                <c:pt idx="246">
                  <c:v>34.200000000000003</c:v>
                </c:pt>
                <c:pt idx="247">
                  <c:v>34.200000000000003</c:v>
                </c:pt>
                <c:pt idx="248">
                  <c:v>34.200000000000003</c:v>
                </c:pt>
                <c:pt idx="249">
                  <c:v>34.200000000000003</c:v>
                </c:pt>
                <c:pt idx="250">
                  <c:v>34.200000000000003</c:v>
                </c:pt>
                <c:pt idx="251">
                  <c:v>34.200000000000003</c:v>
                </c:pt>
                <c:pt idx="252">
                  <c:v>34.200000000000003</c:v>
                </c:pt>
                <c:pt idx="253">
                  <c:v>34.200000000000003</c:v>
                </c:pt>
                <c:pt idx="254">
                  <c:v>34.200000000000003</c:v>
                </c:pt>
                <c:pt idx="255">
                  <c:v>34.200000000000003</c:v>
                </c:pt>
                <c:pt idx="256">
                  <c:v>34.200000000000003</c:v>
                </c:pt>
                <c:pt idx="257">
                  <c:v>34.200000000000003</c:v>
                </c:pt>
                <c:pt idx="258">
                  <c:v>34.200000000000003</c:v>
                </c:pt>
                <c:pt idx="259">
                  <c:v>34.200000000000003</c:v>
                </c:pt>
                <c:pt idx="260">
                  <c:v>31.78</c:v>
                </c:pt>
                <c:pt idx="261">
                  <c:v>28.55</c:v>
                </c:pt>
                <c:pt idx="262">
                  <c:v>28.55</c:v>
                </c:pt>
                <c:pt idx="263">
                  <c:v>28.55</c:v>
                </c:pt>
                <c:pt idx="264">
                  <c:v>28.55</c:v>
                </c:pt>
                <c:pt idx="265">
                  <c:v>28.55</c:v>
                </c:pt>
                <c:pt idx="266">
                  <c:v>28.55</c:v>
                </c:pt>
                <c:pt idx="267">
                  <c:v>28.55</c:v>
                </c:pt>
                <c:pt idx="268">
                  <c:v>28.55</c:v>
                </c:pt>
                <c:pt idx="269">
                  <c:v>28.55</c:v>
                </c:pt>
                <c:pt idx="270">
                  <c:v>28.55</c:v>
                </c:pt>
                <c:pt idx="271">
                  <c:v>28.55</c:v>
                </c:pt>
                <c:pt idx="272">
                  <c:v>28.55</c:v>
                </c:pt>
                <c:pt idx="273">
                  <c:v>28.55</c:v>
                </c:pt>
                <c:pt idx="274">
                  <c:v>28.55</c:v>
                </c:pt>
                <c:pt idx="275">
                  <c:v>28.55</c:v>
                </c:pt>
                <c:pt idx="276">
                  <c:v>28.55</c:v>
                </c:pt>
                <c:pt idx="277">
                  <c:v>28.55</c:v>
                </c:pt>
                <c:pt idx="278">
                  <c:v>28.55</c:v>
                </c:pt>
                <c:pt idx="279">
                  <c:v>28.55</c:v>
                </c:pt>
                <c:pt idx="280">
                  <c:v>28.55</c:v>
                </c:pt>
                <c:pt idx="281">
                  <c:v>28.55</c:v>
                </c:pt>
                <c:pt idx="282">
                  <c:v>28.55</c:v>
                </c:pt>
                <c:pt idx="283">
                  <c:v>28.55</c:v>
                </c:pt>
                <c:pt idx="284">
                  <c:v>28.55</c:v>
                </c:pt>
                <c:pt idx="285">
                  <c:v>28.55</c:v>
                </c:pt>
                <c:pt idx="286">
                  <c:v>28.55</c:v>
                </c:pt>
                <c:pt idx="287">
                  <c:v>28.55</c:v>
                </c:pt>
                <c:pt idx="288">
                  <c:v>28.55</c:v>
                </c:pt>
                <c:pt idx="289">
                  <c:v>28.55</c:v>
                </c:pt>
                <c:pt idx="290">
                  <c:v>28.55</c:v>
                </c:pt>
                <c:pt idx="291">
                  <c:v>28.55</c:v>
                </c:pt>
                <c:pt idx="292">
                  <c:v>28.55</c:v>
                </c:pt>
                <c:pt idx="293">
                  <c:v>28.55</c:v>
                </c:pt>
                <c:pt idx="294">
                  <c:v>28.55</c:v>
                </c:pt>
                <c:pt idx="295">
                  <c:v>28.55</c:v>
                </c:pt>
                <c:pt idx="296">
                  <c:v>28.55</c:v>
                </c:pt>
                <c:pt idx="297">
                  <c:v>28.55</c:v>
                </c:pt>
                <c:pt idx="298">
                  <c:v>28.55</c:v>
                </c:pt>
                <c:pt idx="299">
                  <c:v>28.55</c:v>
                </c:pt>
                <c:pt idx="300">
                  <c:v>28.55</c:v>
                </c:pt>
                <c:pt idx="301">
                  <c:v>28.55</c:v>
                </c:pt>
                <c:pt idx="302">
                  <c:v>28.55</c:v>
                </c:pt>
                <c:pt idx="303">
                  <c:v>28.55</c:v>
                </c:pt>
                <c:pt idx="304">
                  <c:v>28.55</c:v>
                </c:pt>
                <c:pt idx="305">
                  <c:v>28.55</c:v>
                </c:pt>
                <c:pt idx="306">
                  <c:v>28.55</c:v>
                </c:pt>
                <c:pt idx="307">
                  <c:v>28.55</c:v>
                </c:pt>
                <c:pt idx="308">
                  <c:v>28.55</c:v>
                </c:pt>
                <c:pt idx="309">
                  <c:v>28.55</c:v>
                </c:pt>
                <c:pt idx="310">
                  <c:v>28.55</c:v>
                </c:pt>
                <c:pt idx="311">
                  <c:v>28.55</c:v>
                </c:pt>
                <c:pt idx="312">
                  <c:v>27.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16D-4A1A-8897-E70605B2D31B}"/>
            </c:ext>
          </c:extLst>
        </c:ser>
        <c:ser>
          <c:idx val="1"/>
          <c:order val="1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LA$1</c:f>
              <c:numCache>
                <c:formatCode>General</c:formatCode>
                <c:ptCount val="313"/>
                <c:pt idx="0">
                  <c:v>18995</c:v>
                </c:pt>
                <c:pt idx="1">
                  <c:v>19002</c:v>
                </c:pt>
                <c:pt idx="2">
                  <c:v>19009</c:v>
                </c:pt>
                <c:pt idx="3">
                  <c:v>19016</c:v>
                </c:pt>
                <c:pt idx="4">
                  <c:v>19023</c:v>
                </c:pt>
                <c:pt idx="5">
                  <c:v>19030</c:v>
                </c:pt>
                <c:pt idx="6">
                  <c:v>19037</c:v>
                </c:pt>
                <c:pt idx="7">
                  <c:v>19044</c:v>
                </c:pt>
                <c:pt idx="8">
                  <c:v>19051</c:v>
                </c:pt>
                <c:pt idx="9">
                  <c:v>19058</c:v>
                </c:pt>
                <c:pt idx="10">
                  <c:v>19065</c:v>
                </c:pt>
                <c:pt idx="11">
                  <c:v>19072</c:v>
                </c:pt>
                <c:pt idx="12">
                  <c:v>19079</c:v>
                </c:pt>
                <c:pt idx="13">
                  <c:v>19086</c:v>
                </c:pt>
                <c:pt idx="14">
                  <c:v>19093</c:v>
                </c:pt>
                <c:pt idx="15">
                  <c:v>19100</c:v>
                </c:pt>
                <c:pt idx="16">
                  <c:v>19107</c:v>
                </c:pt>
                <c:pt idx="17">
                  <c:v>19114</c:v>
                </c:pt>
                <c:pt idx="18">
                  <c:v>19121</c:v>
                </c:pt>
                <c:pt idx="19">
                  <c:v>19128</c:v>
                </c:pt>
                <c:pt idx="20">
                  <c:v>19135</c:v>
                </c:pt>
                <c:pt idx="21">
                  <c:v>19142</c:v>
                </c:pt>
                <c:pt idx="22">
                  <c:v>19149</c:v>
                </c:pt>
                <c:pt idx="23">
                  <c:v>19156</c:v>
                </c:pt>
                <c:pt idx="24">
                  <c:v>19163</c:v>
                </c:pt>
                <c:pt idx="25">
                  <c:v>19170</c:v>
                </c:pt>
                <c:pt idx="26">
                  <c:v>19177</c:v>
                </c:pt>
                <c:pt idx="27">
                  <c:v>19184</c:v>
                </c:pt>
                <c:pt idx="28">
                  <c:v>19191</c:v>
                </c:pt>
                <c:pt idx="29">
                  <c:v>19198</c:v>
                </c:pt>
                <c:pt idx="30">
                  <c:v>19205</c:v>
                </c:pt>
                <c:pt idx="31">
                  <c:v>19212</c:v>
                </c:pt>
                <c:pt idx="32">
                  <c:v>19219</c:v>
                </c:pt>
                <c:pt idx="33">
                  <c:v>19226</c:v>
                </c:pt>
                <c:pt idx="34">
                  <c:v>19233</c:v>
                </c:pt>
                <c:pt idx="35">
                  <c:v>19240</c:v>
                </c:pt>
                <c:pt idx="36">
                  <c:v>19247</c:v>
                </c:pt>
                <c:pt idx="37">
                  <c:v>19254</c:v>
                </c:pt>
                <c:pt idx="38">
                  <c:v>19261</c:v>
                </c:pt>
                <c:pt idx="39">
                  <c:v>19268</c:v>
                </c:pt>
                <c:pt idx="40">
                  <c:v>19275</c:v>
                </c:pt>
                <c:pt idx="41">
                  <c:v>19282</c:v>
                </c:pt>
                <c:pt idx="42">
                  <c:v>19289</c:v>
                </c:pt>
                <c:pt idx="43">
                  <c:v>19296</c:v>
                </c:pt>
                <c:pt idx="44">
                  <c:v>19303</c:v>
                </c:pt>
                <c:pt idx="45">
                  <c:v>19310</c:v>
                </c:pt>
                <c:pt idx="46">
                  <c:v>19317</c:v>
                </c:pt>
                <c:pt idx="47">
                  <c:v>19324</c:v>
                </c:pt>
                <c:pt idx="48">
                  <c:v>19331</c:v>
                </c:pt>
                <c:pt idx="49">
                  <c:v>19338</c:v>
                </c:pt>
                <c:pt idx="50">
                  <c:v>19345</c:v>
                </c:pt>
                <c:pt idx="51">
                  <c:v>19352</c:v>
                </c:pt>
                <c:pt idx="52">
                  <c:v>19359</c:v>
                </c:pt>
                <c:pt idx="53">
                  <c:v>19366</c:v>
                </c:pt>
                <c:pt idx="54">
                  <c:v>19373</c:v>
                </c:pt>
                <c:pt idx="55">
                  <c:v>19380</c:v>
                </c:pt>
                <c:pt idx="56">
                  <c:v>19387</c:v>
                </c:pt>
                <c:pt idx="57">
                  <c:v>19394</c:v>
                </c:pt>
                <c:pt idx="58">
                  <c:v>19401</c:v>
                </c:pt>
                <c:pt idx="59">
                  <c:v>19408</c:v>
                </c:pt>
                <c:pt idx="60">
                  <c:v>19415</c:v>
                </c:pt>
                <c:pt idx="61">
                  <c:v>19422</c:v>
                </c:pt>
                <c:pt idx="62">
                  <c:v>19429</c:v>
                </c:pt>
                <c:pt idx="63">
                  <c:v>19436</c:v>
                </c:pt>
                <c:pt idx="64">
                  <c:v>19443</c:v>
                </c:pt>
                <c:pt idx="65">
                  <c:v>19450</c:v>
                </c:pt>
                <c:pt idx="66">
                  <c:v>19457</c:v>
                </c:pt>
                <c:pt idx="67">
                  <c:v>19464</c:v>
                </c:pt>
                <c:pt idx="68">
                  <c:v>19471</c:v>
                </c:pt>
                <c:pt idx="69">
                  <c:v>19478</c:v>
                </c:pt>
                <c:pt idx="70">
                  <c:v>19485</c:v>
                </c:pt>
                <c:pt idx="71">
                  <c:v>19492</c:v>
                </c:pt>
                <c:pt idx="72">
                  <c:v>19499</c:v>
                </c:pt>
                <c:pt idx="73">
                  <c:v>19506</c:v>
                </c:pt>
                <c:pt idx="74">
                  <c:v>19513</c:v>
                </c:pt>
                <c:pt idx="75">
                  <c:v>19520</c:v>
                </c:pt>
                <c:pt idx="76">
                  <c:v>19527</c:v>
                </c:pt>
                <c:pt idx="77">
                  <c:v>19534</c:v>
                </c:pt>
                <c:pt idx="78">
                  <c:v>19541</c:v>
                </c:pt>
                <c:pt idx="79">
                  <c:v>19548</c:v>
                </c:pt>
                <c:pt idx="80">
                  <c:v>19555</c:v>
                </c:pt>
                <c:pt idx="81">
                  <c:v>19562</c:v>
                </c:pt>
                <c:pt idx="82">
                  <c:v>19569</c:v>
                </c:pt>
                <c:pt idx="83">
                  <c:v>19576</c:v>
                </c:pt>
                <c:pt idx="84">
                  <c:v>19583</c:v>
                </c:pt>
                <c:pt idx="85">
                  <c:v>19590</c:v>
                </c:pt>
                <c:pt idx="86">
                  <c:v>19597</c:v>
                </c:pt>
                <c:pt idx="87">
                  <c:v>19604</c:v>
                </c:pt>
                <c:pt idx="88">
                  <c:v>19611</c:v>
                </c:pt>
                <c:pt idx="89">
                  <c:v>19618</c:v>
                </c:pt>
                <c:pt idx="90">
                  <c:v>19625</c:v>
                </c:pt>
                <c:pt idx="91">
                  <c:v>19632</c:v>
                </c:pt>
                <c:pt idx="92">
                  <c:v>19639</c:v>
                </c:pt>
                <c:pt idx="93">
                  <c:v>19646</c:v>
                </c:pt>
                <c:pt idx="94">
                  <c:v>19653</c:v>
                </c:pt>
                <c:pt idx="95">
                  <c:v>19660</c:v>
                </c:pt>
                <c:pt idx="96">
                  <c:v>19667</c:v>
                </c:pt>
                <c:pt idx="97">
                  <c:v>19674</c:v>
                </c:pt>
                <c:pt idx="98">
                  <c:v>19681</c:v>
                </c:pt>
                <c:pt idx="99">
                  <c:v>19688</c:v>
                </c:pt>
                <c:pt idx="100">
                  <c:v>19695</c:v>
                </c:pt>
                <c:pt idx="101">
                  <c:v>19702</c:v>
                </c:pt>
                <c:pt idx="102">
                  <c:v>19709</c:v>
                </c:pt>
                <c:pt idx="103">
                  <c:v>19716</c:v>
                </c:pt>
                <c:pt idx="104">
                  <c:v>19723</c:v>
                </c:pt>
                <c:pt idx="105">
                  <c:v>19730</c:v>
                </c:pt>
                <c:pt idx="106">
                  <c:v>19737</c:v>
                </c:pt>
                <c:pt idx="107">
                  <c:v>19744</c:v>
                </c:pt>
                <c:pt idx="108">
                  <c:v>19751</c:v>
                </c:pt>
                <c:pt idx="109">
                  <c:v>19758</c:v>
                </c:pt>
                <c:pt idx="110">
                  <c:v>19765</c:v>
                </c:pt>
                <c:pt idx="111">
                  <c:v>19772</c:v>
                </c:pt>
                <c:pt idx="112">
                  <c:v>19779</c:v>
                </c:pt>
                <c:pt idx="113">
                  <c:v>19786</c:v>
                </c:pt>
                <c:pt idx="114">
                  <c:v>19793</c:v>
                </c:pt>
                <c:pt idx="115">
                  <c:v>19800</c:v>
                </c:pt>
                <c:pt idx="116">
                  <c:v>19807</c:v>
                </c:pt>
                <c:pt idx="117">
                  <c:v>19814</c:v>
                </c:pt>
                <c:pt idx="118">
                  <c:v>19821</c:v>
                </c:pt>
                <c:pt idx="119">
                  <c:v>19828</c:v>
                </c:pt>
                <c:pt idx="120">
                  <c:v>19835</c:v>
                </c:pt>
                <c:pt idx="121">
                  <c:v>19842</c:v>
                </c:pt>
                <c:pt idx="122">
                  <c:v>19849</c:v>
                </c:pt>
                <c:pt idx="123">
                  <c:v>19856</c:v>
                </c:pt>
                <c:pt idx="124">
                  <c:v>19863</c:v>
                </c:pt>
                <c:pt idx="125">
                  <c:v>19870</c:v>
                </c:pt>
                <c:pt idx="126">
                  <c:v>19877</c:v>
                </c:pt>
                <c:pt idx="127">
                  <c:v>19884</c:v>
                </c:pt>
                <c:pt idx="128">
                  <c:v>19891</c:v>
                </c:pt>
                <c:pt idx="129">
                  <c:v>19898</c:v>
                </c:pt>
                <c:pt idx="130">
                  <c:v>19905</c:v>
                </c:pt>
                <c:pt idx="131">
                  <c:v>19912</c:v>
                </c:pt>
                <c:pt idx="132">
                  <c:v>19919</c:v>
                </c:pt>
                <c:pt idx="133">
                  <c:v>19926</c:v>
                </c:pt>
                <c:pt idx="134">
                  <c:v>19933</c:v>
                </c:pt>
                <c:pt idx="135">
                  <c:v>19940</c:v>
                </c:pt>
                <c:pt idx="136">
                  <c:v>19947</c:v>
                </c:pt>
                <c:pt idx="137">
                  <c:v>19954</c:v>
                </c:pt>
                <c:pt idx="138">
                  <c:v>19961</c:v>
                </c:pt>
                <c:pt idx="139">
                  <c:v>19968</c:v>
                </c:pt>
                <c:pt idx="140">
                  <c:v>19975</c:v>
                </c:pt>
                <c:pt idx="141">
                  <c:v>19982</c:v>
                </c:pt>
                <c:pt idx="142">
                  <c:v>19989</c:v>
                </c:pt>
                <c:pt idx="143">
                  <c:v>19996</c:v>
                </c:pt>
                <c:pt idx="144">
                  <c:v>20003</c:v>
                </c:pt>
                <c:pt idx="145">
                  <c:v>20010</c:v>
                </c:pt>
                <c:pt idx="146">
                  <c:v>20017</c:v>
                </c:pt>
                <c:pt idx="147">
                  <c:v>20024</c:v>
                </c:pt>
                <c:pt idx="148">
                  <c:v>20031</c:v>
                </c:pt>
                <c:pt idx="149">
                  <c:v>20038</c:v>
                </c:pt>
                <c:pt idx="150">
                  <c:v>20045</c:v>
                </c:pt>
                <c:pt idx="151">
                  <c:v>20052</c:v>
                </c:pt>
                <c:pt idx="152">
                  <c:v>20059</c:v>
                </c:pt>
                <c:pt idx="153">
                  <c:v>20066</c:v>
                </c:pt>
                <c:pt idx="154">
                  <c:v>20073</c:v>
                </c:pt>
                <c:pt idx="155">
                  <c:v>20080</c:v>
                </c:pt>
                <c:pt idx="156">
                  <c:v>20087</c:v>
                </c:pt>
                <c:pt idx="157">
                  <c:v>20094</c:v>
                </c:pt>
                <c:pt idx="158">
                  <c:v>20101</c:v>
                </c:pt>
                <c:pt idx="159">
                  <c:v>20108</c:v>
                </c:pt>
                <c:pt idx="160">
                  <c:v>20115</c:v>
                </c:pt>
                <c:pt idx="161">
                  <c:v>20122</c:v>
                </c:pt>
                <c:pt idx="162">
                  <c:v>20129</c:v>
                </c:pt>
                <c:pt idx="163">
                  <c:v>20136</c:v>
                </c:pt>
                <c:pt idx="164">
                  <c:v>20143</c:v>
                </c:pt>
                <c:pt idx="165">
                  <c:v>20150</c:v>
                </c:pt>
                <c:pt idx="166">
                  <c:v>20157</c:v>
                </c:pt>
                <c:pt idx="167">
                  <c:v>20164</c:v>
                </c:pt>
                <c:pt idx="168">
                  <c:v>20171</c:v>
                </c:pt>
                <c:pt idx="169">
                  <c:v>20178</c:v>
                </c:pt>
                <c:pt idx="170">
                  <c:v>20185</c:v>
                </c:pt>
                <c:pt idx="171">
                  <c:v>20192</c:v>
                </c:pt>
                <c:pt idx="172">
                  <c:v>20199</c:v>
                </c:pt>
                <c:pt idx="173">
                  <c:v>20206</c:v>
                </c:pt>
                <c:pt idx="174">
                  <c:v>20213</c:v>
                </c:pt>
                <c:pt idx="175">
                  <c:v>20220</c:v>
                </c:pt>
                <c:pt idx="176">
                  <c:v>20227</c:v>
                </c:pt>
                <c:pt idx="177">
                  <c:v>20234</c:v>
                </c:pt>
                <c:pt idx="178">
                  <c:v>20241</c:v>
                </c:pt>
                <c:pt idx="179">
                  <c:v>20248</c:v>
                </c:pt>
                <c:pt idx="180">
                  <c:v>20255</c:v>
                </c:pt>
                <c:pt idx="181">
                  <c:v>20262</c:v>
                </c:pt>
                <c:pt idx="182">
                  <c:v>20269</c:v>
                </c:pt>
                <c:pt idx="183">
                  <c:v>20276</c:v>
                </c:pt>
                <c:pt idx="184">
                  <c:v>20283</c:v>
                </c:pt>
                <c:pt idx="185">
                  <c:v>20290</c:v>
                </c:pt>
                <c:pt idx="186">
                  <c:v>20297</c:v>
                </c:pt>
                <c:pt idx="187">
                  <c:v>20304</c:v>
                </c:pt>
                <c:pt idx="188">
                  <c:v>20311</c:v>
                </c:pt>
                <c:pt idx="189">
                  <c:v>20318</c:v>
                </c:pt>
                <c:pt idx="190">
                  <c:v>20325</c:v>
                </c:pt>
                <c:pt idx="191">
                  <c:v>20332</c:v>
                </c:pt>
                <c:pt idx="192">
                  <c:v>20339</c:v>
                </c:pt>
                <c:pt idx="193">
                  <c:v>20346</c:v>
                </c:pt>
                <c:pt idx="194">
                  <c:v>20353</c:v>
                </c:pt>
                <c:pt idx="195">
                  <c:v>20360</c:v>
                </c:pt>
                <c:pt idx="196">
                  <c:v>20367</c:v>
                </c:pt>
                <c:pt idx="197">
                  <c:v>20374</c:v>
                </c:pt>
                <c:pt idx="198">
                  <c:v>20381</c:v>
                </c:pt>
                <c:pt idx="199">
                  <c:v>20388</c:v>
                </c:pt>
                <c:pt idx="200">
                  <c:v>20395</c:v>
                </c:pt>
                <c:pt idx="201">
                  <c:v>20402</c:v>
                </c:pt>
                <c:pt idx="202">
                  <c:v>20409</c:v>
                </c:pt>
                <c:pt idx="203">
                  <c:v>20416</c:v>
                </c:pt>
                <c:pt idx="204">
                  <c:v>20423</c:v>
                </c:pt>
                <c:pt idx="205">
                  <c:v>20430</c:v>
                </c:pt>
                <c:pt idx="206">
                  <c:v>20437</c:v>
                </c:pt>
                <c:pt idx="207">
                  <c:v>20444</c:v>
                </c:pt>
                <c:pt idx="208">
                  <c:v>20451</c:v>
                </c:pt>
                <c:pt idx="209">
                  <c:v>20458</c:v>
                </c:pt>
                <c:pt idx="210">
                  <c:v>20465</c:v>
                </c:pt>
                <c:pt idx="211">
                  <c:v>20472</c:v>
                </c:pt>
                <c:pt idx="212">
                  <c:v>20479</c:v>
                </c:pt>
                <c:pt idx="213">
                  <c:v>20486</c:v>
                </c:pt>
                <c:pt idx="214">
                  <c:v>20493</c:v>
                </c:pt>
                <c:pt idx="215">
                  <c:v>20500</c:v>
                </c:pt>
                <c:pt idx="216">
                  <c:v>20507</c:v>
                </c:pt>
                <c:pt idx="217">
                  <c:v>20514</c:v>
                </c:pt>
                <c:pt idx="218">
                  <c:v>20521</c:v>
                </c:pt>
                <c:pt idx="219">
                  <c:v>20528</c:v>
                </c:pt>
                <c:pt idx="220">
                  <c:v>20535</c:v>
                </c:pt>
                <c:pt idx="221">
                  <c:v>20542</c:v>
                </c:pt>
                <c:pt idx="222">
                  <c:v>20549</c:v>
                </c:pt>
                <c:pt idx="223">
                  <c:v>20556</c:v>
                </c:pt>
                <c:pt idx="224">
                  <c:v>20563</c:v>
                </c:pt>
                <c:pt idx="225">
                  <c:v>20570</c:v>
                </c:pt>
                <c:pt idx="226">
                  <c:v>20577</c:v>
                </c:pt>
                <c:pt idx="227">
                  <c:v>20584</c:v>
                </c:pt>
                <c:pt idx="228">
                  <c:v>20591</c:v>
                </c:pt>
                <c:pt idx="229">
                  <c:v>20598</c:v>
                </c:pt>
                <c:pt idx="230">
                  <c:v>20605</c:v>
                </c:pt>
                <c:pt idx="231">
                  <c:v>20612</c:v>
                </c:pt>
                <c:pt idx="232">
                  <c:v>20619</c:v>
                </c:pt>
                <c:pt idx="233">
                  <c:v>20626</c:v>
                </c:pt>
                <c:pt idx="234">
                  <c:v>20633</c:v>
                </c:pt>
                <c:pt idx="235">
                  <c:v>20640</c:v>
                </c:pt>
                <c:pt idx="236">
                  <c:v>20647</c:v>
                </c:pt>
                <c:pt idx="237">
                  <c:v>20654</c:v>
                </c:pt>
                <c:pt idx="238">
                  <c:v>20661</c:v>
                </c:pt>
                <c:pt idx="239">
                  <c:v>20668</c:v>
                </c:pt>
                <c:pt idx="240">
                  <c:v>20675</c:v>
                </c:pt>
                <c:pt idx="241">
                  <c:v>20682</c:v>
                </c:pt>
                <c:pt idx="242">
                  <c:v>20689</c:v>
                </c:pt>
                <c:pt idx="243">
                  <c:v>20696</c:v>
                </c:pt>
                <c:pt idx="244">
                  <c:v>20703</c:v>
                </c:pt>
                <c:pt idx="245">
                  <c:v>20710</c:v>
                </c:pt>
                <c:pt idx="246">
                  <c:v>20717</c:v>
                </c:pt>
                <c:pt idx="247">
                  <c:v>20724</c:v>
                </c:pt>
                <c:pt idx="248">
                  <c:v>20731</c:v>
                </c:pt>
                <c:pt idx="249">
                  <c:v>20738</c:v>
                </c:pt>
                <c:pt idx="250">
                  <c:v>20745</c:v>
                </c:pt>
                <c:pt idx="251">
                  <c:v>20752</c:v>
                </c:pt>
                <c:pt idx="252">
                  <c:v>20759</c:v>
                </c:pt>
                <c:pt idx="253">
                  <c:v>20766</c:v>
                </c:pt>
                <c:pt idx="254">
                  <c:v>20773</c:v>
                </c:pt>
                <c:pt idx="255">
                  <c:v>20780</c:v>
                </c:pt>
                <c:pt idx="256">
                  <c:v>20787</c:v>
                </c:pt>
                <c:pt idx="257">
                  <c:v>20794</c:v>
                </c:pt>
                <c:pt idx="258">
                  <c:v>20801</c:v>
                </c:pt>
                <c:pt idx="259">
                  <c:v>20808</c:v>
                </c:pt>
                <c:pt idx="260">
                  <c:v>20815</c:v>
                </c:pt>
                <c:pt idx="261">
                  <c:v>20822</c:v>
                </c:pt>
                <c:pt idx="262">
                  <c:v>20829</c:v>
                </c:pt>
                <c:pt idx="263">
                  <c:v>20836</c:v>
                </c:pt>
                <c:pt idx="264">
                  <c:v>20843</c:v>
                </c:pt>
                <c:pt idx="265">
                  <c:v>20850</c:v>
                </c:pt>
                <c:pt idx="266">
                  <c:v>20857</c:v>
                </c:pt>
                <c:pt idx="267">
                  <c:v>20864</c:v>
                </c:pt>
                <c:pt idx="268">
                  <c:v>20871</c:v>
                </c:pt>
                <c:pt idx="269">
                  <c:v>20878</c:v>
                </c:pt>
                <c:pt idx="270">
                  <c:v>20885</c:v>
                </c:pt>
                <c:pt idx="271">
                  <c:v>20892</c:v>
                </c:pt>
                <c:pt idx="272">
                  <c:v>20899</c:v>
                </c:pt>
                <c:pt idx="273">
                  <c:v>20906</c:v>
                </c:pt>
                <c:pt idx="274">
                  <c:v>20913</c:v>
                </c:pt>
                <c:pt idx="275">
                  <c:v>20920</c:v>
                </c:pt>
                <c:pt idx="276">
                  <c:v>20927</c:v>
                </c:pt>
                <c:pt idx="277">
                  <c:v>20934</c:v>
                </c:pt>
                <c:pt idx="278">
                  <c:v>20941</c:v>
                </c:pt>
                <c:pt idx="279">
                  <c:v>20948</c:v>
                </c:pt>
                <c:pt idx="280">
                  <c:v>20955</c:v>
                </c:pt>
                <c:pt idx="281">
                  <c:v>20962</c:v>
                </c:pt>
                <c:pt idx="282">
                  <c:v>20969</c:v>
                </c:pt>
                <c:pt idx="283">
                  <c:v>20976</c:v>
                </c:pt>
                <c:pt idx="284">
                  <c:v>20983</c:v>
                </c:pt>
                <c:pt idx="285">
                  <c:v>20990</c:v>
                </c:pt>
                <c:pt idx="286">
                  <c:v>20997</c:v>
                </c:pt>
                <c:pt idx="287">
                  <c:v>21004</c:v>
                </c:pt>
                <c:pt idx="288">
                  <c:v>21011</c:v>
                </c:pt>
                <c:pt idx="289">
                  <c:v>21018</c:v>
                </c:pt>
                <c:pt idx="290">
                  <c:v>21025</c:v>
                </c:pt>
                <c:pt idx="291">
                  <c:v>21032</c:v>
                </c:pt>
                <c:pt idx="292">
                  <c:v>21039</c:v>
                </c:pt>
                <c:pt idx="293">
                  <c:v>21046</c:v>
                </c:pt>
                <c:pt idx="294">
                  <c:v>21053</c:v>
                </c:pt>
                <c:pt idx="295">
                  <c:v>21060</c:v>
                </c:pt>
                <c:pt idx="296">
                  <c:v>21067</c:v>
                </c:pt>
                <c:pt idx="297">
                  <c:v>21074</c:v>
                </c:pt>
                <c:pt idx="298">
                  <c:v>21081</c:v>
                </c:pt>
                <c:pt idx="299">
                  <c:v>21088</c:v>
                </c:pt>
                <c:pt idx="300">
                  <c:v>21095</c:v>
                </c:pt>
                <c:pt idx="301">
                  <c:v>21102</c:v>
                </c:pt>
                <c:pt idx="302">
                  <c:v>21109</c:v>
                </c:pt>
                <c:pt idx="303">
                  <c:v>21116</c:v>
                </c:pt>
                <c:pt idx="304">
                  <c:v>21123</c:v>
                </c:pt>
                <c:pt idx="305">
                  <c:v>21130</c:v>
                </c:pt>
                <c:pt idx="306">
                  <c:v>21137</c:v>
                </c:pt>
                <c:pt idx="307">
                  <c:v>21144</c:v>
                </c:pt>
                <c:pt idx="308">
                  <c:v>21151</c:v>
                </c:pt>
                <c:pt idx="309">
                  <c:v>21158</c:v>
                </c:pt>
                <c:pt idx="310">
                  <c:v>21165</c:v>
                </c:pt>
                <c:pt idx="311">
                  <c:v>21172</c:v>
                </c:pt>
                <c:pt idx="312">
                  <c:v>21179</c:v>
                </c:pt>
              </c:numCache>
            </c:numRef>
          </c:xVal>
          <c:yVal>
            <c:numRef>
              <c:f>Sheet1!$A$3:$LA$3</c:f>
              <c:numCache>
                <c:formatCode>General</c:formatCode>
                <c:ptCount val="313"/>
                <c:pt idx="0">
                  <c:v>12.25904424778761</c:v>
                </c:pt>
                <c:pt idx="1">
                  <c:v>12.151508771929823</c:v>
                </c:pt>
                <c:pt idx="2">
                  <c:v>12.151508771929823</c:v>
                </c:pt>
                <c:pt idx="3">
                  <c:v>12.368499999999997</c:v>
                </c:pt>
                <c:pt idx="4">
                  <c:v>12.923327433628319</c:v>
                </c:pt>
                <c:pt idx="5">
                  <c:v>12.809964912280703</c:v>
                </c:pt>
                <c:pt idx="6">
                  <c:v>12.809964912280703</c:v>
                </c:pt>
                <c:pt idx="7">
                  <c:v>12.923327433628319</c:v>
                </c:pt>
                <c:pt idx="8">
                  <c:v>14.330399999999997</c:v>
                </c:pt>
                <c:pt idx="9">
                  <c:v>14.330399999999997</c:v>
                </c:pt>
                <c:pt idx="10">
                  <c:v>14.330399999999997</c:v>
                </c:pt>
                <c:pt idx="11">
                  <c:v>14.330399999999997</c:v>
                </c:pt>
                <c:pt idx="12">
                  <c:v>16.937045045045043</c:v>
                </c:pt>
                <c:pt idx="13">
                  <c:v>17.247816513761467</c:v>
                </c:pt>
                <c:pt idx="14">
                  <c:v>17.247816513761467</c:v>
                </c:pt>
                <c:pt idx="15">
                  <c:v>17.407518518518518</c:v>
                </c:pt>
                <c:pt idx="16">
                  <c:v>22.049245283018866</c:v>
                </c:pt>
                <c:pt idx="17">
                  <c:v>22.049245283018866</c:v>
                </c:pt>
                <c:pt idx="18">
                  <c:v>22.259238095238093</c:v>
                </c:pt>
                <c:pt idx="19">
                  <c:v>22.259238095238093</c:v>
                </c:pt>
                <c:pt idx="20">
                  <c:v>21.843177570093456</c:v>
                </c:pt>
                <c:pt idx="21">
                  <c:v>28.603401869158876</c:v>
                </c:pt>
                <c:pt idx="22">
                  <c:v>28.603401869158876</c:v>
                </c:pt>
                <c:pt idx="23">
                  <c:v>29.148228571428572</c:v>
                </c:pt>
                <c:pt idx="24">
                  <c:v>29.148228571428572</c:v>
                </c:pt>
                <c:pt idx="25">
                  <c:v>21.121904761904762</c:v>
                </c:pt>
                <c:pt idx="26">
                  <c:v>21.74313725490196</c:v>
                </c:pt>
                <c:pt idx="27">
                  <c:v>21.958415841584159</c:v>
                </c:pt>
                <c:pt idx="28">
                  <c:v>21.74313725490196</c:v>
                </c:pt>
                <c:pt idx="29">
                  <c:v>21.74313725490196</c:v>
                </c:pt>
                <c:pt idx="30">
                  <c:v>30.072431372549019</c:v>
                </c:pt>
                <c:pt idx="31">
                  <c:v>29.780466019417474</c:v>
                </c:pt>
                <c:pt idx="32">
                  <c:v>30.370178217821781</c:v>
                </c:pt>
                <c:pt idx="33">
                  <c:v>30.67388</c:v>
                </c:pt>
                <c:pt idx="34">
                  <c:v>31.7316</c:v>
                </c:pt>
                <c:pt idx="35">
                  <c:v>31.7316</c:v>
                </c:pt>
                <c:pt idx="36">
                  <c:v>31.7316</c:v>
                </c:pt>
                <c:pt idx="37">
                  <c:v>32.052121212121214</c:v>
                </c:pt>
                <c:pt idx="38">
                  <c:v>23.391546391752581</c:v>
                </c:pt>
                <c:pt idx="39">
                  <c:v>23.152857142857144</c:v>
                </c:pt>
                <c:pt idx="40">
                  <c:v>23.391546391752581</c:v>
                </c:pt>
                <c:pt idx="41">
                  <c:v>23.152857142857144</c:v>
                </c:pt>
                <c:pt idx="42">
                  <c:v>22.918989898989899</c:v>
                </c:pt>
                <c:pt idx="43">
                  <c:v>19.334666666666667</c:v>
                </c:pt>
                <c:pt idx="44">
                  <c:v>18.95180198019802</c:v>
                </c:pt>
                <c:pt idx="45">
                  <c:v>18.405115384615385</c:v>
                </c:pt>
                <c:pt idx="46">
                  <c:v>18.583805825242717</c:v>
                </c:pt>
                <c:pt idx="47">
                  <c:v>22.811657142857143</c:v>
                </c:pt>
                <c:pt idx="48">
                  <c:v>22.811657142857143</c:v>
                </c:pt>
                <c:pt idx="49">
                  <c:v>22.596452830188678</c:v>
                </c:pt>
                <c:pt idx="50">
                  <c:v>22.596452830188678</c:v>
                </c:pt>
                <c:pt idx="51">
                  <c:v>16.836785046728973</c:v>
                </c:pt>
                <c:pt idx="52">
                  <c:v>16.995622641509435</c:v>
                </c:pt>
                <c:pt idx="53">
                  <c:v>16.680888888888887</c:v>
                </c:pt>
                <c:pt idx="54">
                  <c:v>16.680888888888887</c:v>
                </c:pt>
                <c:pt idx="55">
                  <c:v>16.527853211009173</c:v>
                </c:pt>
                <c:pt idx="56">
                  <c:v>9.2030091743119247</c:v>
                </c:pt>
                <c:pt idx="57">
                  <c:v>9.375028037383176</c:v>
                </c:pt>
                <c:pt idx="58">
                  <c:v>9.375028037383176</c:v>
                </c:pt>
                <c:pt idx="59">
                  <c:v>9.4634716981132065</c:v>
                </c:pt>
                <c:pt idx="60">
                  <c:v>7.4355849056603764</c:v>
                </c:pt>
                <c:pt idx="61">
                  <c:v>7.4355849056603764</c:v>
                </c:pt>
                <c:pt idx="62">
                  <c:v>7.4355849056603764</c:v>
                </c:pt>
                <c:pt idx="63">
                  <c:v>7.2978888888888882</c:v>
                </c:pt>
                <c:pt idx="64">
                  <c:v>6.354458715596329</c:v>
                </c:pt>
                <c:pt idx="65">
                  <c:v>6.354458715596329</c:v>
                </c:pt>
                <c:pt idx="66">
                  <c:v>6.2966909090909073</c:v>
                </c:pt>
                <c:pt idx="67">
                  <c:v>6.2966909090909073</c:v>
                </c:pt>
                <c:pt idx="68">
                  <c:v>6.2966909090909073</c:v>
                </c:pt>
                <c:pt idx="69">
                  <c:v>7.1651999999999987</c:v>
                </c:pt>
                <c:pt idx="70">
                  <c:v>7.2309357798165133</c:v>
                </c:pt>
                <c:pt idx="71">
                  <c:v>7.2978888888888882</c:v>
                </c:pt>
                <c:pt idx="72">
                  <c:v>7.2978888888888882</c:v>
                </c:pt>
                <c:pt idx="73">
                  <c:v>7.3660934579439248</c:v>
                </c:pt>
                <c:pt idx="74">
                  <c:v>7.3660934579439248</c:v>
                </c:pt>
                <c:pt idx="75">
                  <c:v>7.2309357798165133</c:v>
                </c:pt>
                <c:pt idx="76">
                  <c:v>7.2309357798165133</c:v>
                </c:pt>
                <c:pt idx="77">
                  <c:v>8.6395596330275204</c:v>
                </c:pt>
                <c:pt idx="78">
                  <c:v>8.6395596330275204</c:v>
                </c:pt>
                <c:pt idx="79">
                  <c:v>8.48389189189189</c:v>
                </c:pt>
                <c:pt idx="80">
                  <c:v>8.408142857142856</c:v>
                </c:pt>
                <c:pt idx="81">
                  <c:v>8.48389189189189</c:v>
                </c:pt>
                <c:pt idx="82">
                  <c:v>8.2508363636363633</c:v>
                </c:pt>
                <c:pt idx="83">
                  <c:v>8.2508363636363633</c:v>
                </c:pt>
                <c:pt idx="84">
                  <c:v>8.3265321100917422</c:v>
                </c:pt>
                <c:pt idx="85">
                  <c:v>8.4036296296296289</c:v>
                </c:pt>
                <c:pt idx="86">
                  <c:v>8.1508888888888897</c:v>
                </c:pt>
                <c:pt idx="87">
                  <c:v>8.2270654205607485</c:v>
                </c:pt>
                <c:pt idx="88">
                  <c:v>8.2270654205607485</c:v>
                </c:pt>
                <c:pt idx="89">
                  <c:v>8.2270654205607485</c:v>
                </c:pt>
                <c:pt idx="90">
                  <c:v>8.562188679245283</c:v>
                </c:pt>
                <c:pt idx="91">
                  <c:v>8.6437333333333335</c:v>
                </c:pt>
                <c:pt idx="92">
                  <c:v>8.562188679245283</c:v>
                </c:pt>
                <c:pt idx="93">
                  <c:v>8.562188679245283</c:v>
                </c:pt>
                <c:pt idx="94">
                  <c:v>8.562188679245283</c:v>
                </c:pt>
                <c:pt idx="95">
                  <c:v>10.332566037735848</c:v>
                </c:pt>
                <c:pt idx="96">
                  <c:v>10.235999999999999</c:v>
                </c:pt>
                <c:pt idx="97">
                  <c:v>10.141222222222222</c:v>
                </c:pt>
                <c:pt idx="98">
                  <c:v>10.048183486238532</c:v>
                </c:pt>
                <c:pt idx="99">
                  <c:v>8.7334678899082565</c:v>
                </c:pt>
                <c:pt idx="100">
                  <c:v>8.814333333333332</c:v>
                </c:pt>
                <c:pt idx="101">
                  <c:v>8.7334678899082565</c:v>
                </c:pt>
                <c:pt idx="102">
                  <c:v>8.6540727272727267</c:v>
                </c:pt>
                <c:pt idx="103">
                  <c:v>8.576108108108107</c:v>
                </c:pt>
                <c:pt idx="104">
                  <c:v>7.9822018348623844</c:v>
                </c:pt>
                <c:pt idx="105">
                  <c:v>7.9822018348623844</c:v>
                </c:pt>
                <c:pt idx="106">
                  <c:v>7.9822018348623844</c:v>
                </c:pt>
                <c:pt idx="107">
                  <c:v>7.9822018348623844</c:v>
                </c:pt>
                <c:pt idx="108">
                  <c:v>9.0464954128440365</c:v>
                </c:pt>
                <c:pt idx="109">
                  <c:v>9.1302592592592582</c:v>
                </c:pt>
                <c:pt idx="110">
                  <c:v>9.1302592592592582</c:v>
                </c:pt>
                <c:pt idx="111">
                  <c:v>9.1302592592592582</c:v>
                </c:pt>
                <c:pt idx="112">
                  <c:v>8.7827407407407385</c:v>
                </c:pt>
                <c:pt idx="113">
                  <c:v>8.2013211009174292</c:v>
                </c:pt>
                <c:pt idx="114">
                  <c:v>8.2013211009174292</c:v>
                </c:pt>
                <c:pt idx="115">
                  <c:v>8.2013211009174292</c:v>
                </c:pt>
                <c:pt idx="116">
                  <c:v>8.2772592592592584</c:v>
                </c:pt>
                <c:pt idx="117">
                  <c:v>8.1192962962962945</c:v>
                </c:pt>
                <c:pt idx="118">
                  <c:v>8.1951775700934562</c:v>
                </c:pt>
                <c:pt idx="119">
                  <c:v>8.1951775700934562</c:v>
                </c:pt>
                <c:pt idx="120">
                  <c:v>8.1951775700934562</c:v>
                </c:pt>
                <c:pt idx="121">
                  <c:v>8.2908411214953261</c:v>
                </c:pt>
                <c:pt idx="122">
                  <c:v>8.2772592592592584</c:v>
                </c:pt>
                <c:pt idx="123">
                  <c:v>8.2772592592592584</c:v>
                </c:pt>
                <c:pt idx="124">
                  <c:v>8.2772592592592584</c:v>
                </c:pt>
                <c:pt idx="125">
                  <c:v>8.2952293577981653</c:v>
                </c:pt>
                <c:pt idx="126">
                  <c:v>8.6082568807339435</c:v>
                </c:pt>
                <c:pt idx="127">
                  <c:v>8.7691588785046708</c:v>
                </c:pt>
                <c:pt idx="128">
                  <c:v>8.7691588785046708</c:v>
                </c:pt>
                <c:pt idx="129">
                  <c:v>8.7691588785046708</c:v>
                </c:pt>
                <c:pt idx="130">
                  <c:v>9.0986666666666647</c:v>
                </c:pt>
                <c:pt idx="131">
                  <c:v>9.0151926605504578</c:v>
                </c:pt>
                <c:pt idx="132">
                  <c:v>9.0151926605504578</c:v>
                </c:pt>
                <c:pt idx="133">
                  <c:v>9.0151926605504578</c:v>
                </c:pt>
                <c:pt idx="134">
                  <c:v>9.1618518518518517</c:v>
                </c:pt>
                <c:pt idx="135">
                  <c:v>9.1091009174311921</c:v>
                </c:pt>
                <c:pt idx="136">
                  <c:v>9.0262909090909087</c:v>
                </c:pt>
                <c:pt idx="137">
                  <c:v>8.9449729729729714</c:v>
                </c:pt>
                <c:pt idx="138">
                  <c:v>8.9449729729729714</c:v>
                </c:pt>
                <c:pt idx="139">
                  <c:v>8.8834954954954952</c:v>
                </c:pt>
                <c:pt idx="140">
                  <c:v>8.8834954954954952</c:v>
                </c:pt>
                <c:pt idx="141">
                  <c:v>8.8834954954954952</c:v>
                </c:pt>
                <c:pt idx="142">
                  <c:v>8.8041785714285705</c:v>
                </c:pt>
                <c:pt idx="143">
                  <c:v>9.0679279279279275</c:v>
                </c:pt>
                <c:pt idx="144">
                  <c:v>9.1813818181818174</c:v>
                </c:pt>
                <c:pt idx="145">
                  <c:v>9.2656146788990821</c:v>
                </c:pt>
                <c:pt idx="146">
                  <c:v>9.3514074074074074</c:v>
                </c:pt>
                <c:pt idx="147">
                  <c:v>9.7937037037037022</c:v>
                </c:pt>
                <c:pt idx="148">
                  <c:v>10.393962962962961</c:v>
                </c:pt>
                <c:pt idx="149">
                  <c:v>10.590075471698112</c:v>
                </c:pt>
                <c:pt idx="150">
                  <c:v>10.690933333333332</c:v>
                </c:pt>
                <c:pt idx="151">
                  <c:v>10.885904761904762</c:v>
                </c:pt>
                <c:pt idx="152">
                  <c:v>12.088228571428571</c:v>
                </c:pt>
                <c:pt idx="153">
                  <c:v>12.088228571428571</c:v>
                </c:pt>
                <c:pt idx="154">
                  <c:v>12.204461538461539</c:v>
                </c:pt>
                <c:pt idx="155">
                  <c:v>12.204461538461539</c:v>
                </c:pt>
                <c:pt idx="156">
                  <c:v>12.919223300970872</c:v>
                </c:pt>
                <c:pt idx="157">
                  <c:v>13.151106796116505</c:v>
                </c:pt>
                <c:pt idx="158">
                  <c:v>13.151106796116505</c:v>
                </c:pt>
                <c:pt idx="159">
                  <c:v>13.024653846153846</c:v>
                </c:pt>
                <c:pt idx="160">
                  <c:v>12.893423076923076</c:v>
                </c:pt>
                <c:pt idx="161">
                  <c:v>12.598153846153846</c:v>
                </c:pt>
                <c:pt idx="162">
                  <c:v>12.598153846153846</c:v>
                </c:pt>
                <c:pt idx="163">
                  <c:v>12.478171428571427</c:v>
                </c:pt>
                <c:pt idx="164">
                  <c:v>12.185714285714285</c:v>
                </c:pt>
                <c:pt idx="165">
                  <c:v>11.256411214953269</c:v>
                </c:pt>
                <c:pt idx="166">
                  <c:v>11.049871559633026</c:v>
                </c:pt>
                <c:pt idx="167">
                  <c:v>11.049871559633026</c:v>
                </c:pt>
                <c:pt idx="168">
                  <c:v>11.049871559633026</c:v>
                </c:pt>
                <c:pt idx="169">
                  <c:v>10.298605504587155</c:v>
                </c:pt>
                <c:pt idx="170">
                  <c:v>10.173394495412843</c:v>
                </c:pt>
                <c:pt idx="171">
                  <c:v>10.173394495412843</c:v>
                </c:pt>
                <c:pt idx="172">
                  <c:v>10.173394495412843</c:v>
                </c:pt>
                <c:pt idx="173">
                  <c:v>10.20469724770642</c:v>
                </c:pt>
                <c:pt idx="174">
                  <c:v>10.20469724770642</c:v>
                </c:pt>
                <c:pt idx="175">
                  <c:v>10.20469724770642</c:v>
                </c:pt>
                <c:pt idx="176">
                  <c:v>10.20469724770642</c:v>
                </c:pt>
                <c:pt idx="177">
                  <c:v>10.267302752293578</c:v>
                </c:pt>
                <c:pt idx="178">
                  <c:v>10.642935779816513</c:v>
                </c:pt>
                <c:pt idx="179">
                  <c:v>10.642935779816513</c:v>
                </c:pt>
                <c:pt idx="180">
                  <c:v>10.642935779816513</c:v>
                </c:pt>
                <c:pt idx="181">
                  <c:v>10.642935779816513</c:v>
                </c:pt>
                <c:pt idx="182">
                  <c:v>10.98726605504587</c:v>
                </c:pt>
                <c:pt idx="183">
                  <c:v>11.049871559633026</c:v>
                </c:pt>
                <c:pt idx="184">
                  <c:v>11.049871559633026</c:v>
                </c:pt>
                <c:pt idx="185">
                  <c:v>11.049871559633026</c:v>
                </c:pt>
                <c:pt idx="186">
                  <c:v>11.081174311926604</c:v>
                </c:pt>
                <c:pt idx="187">
                  <c:v>11.14377981651376</c:v>
                </c:pt>
                <c:pt idx="188">
                  <c:v>11.14377981651376</c:v>
                </c:pt>
                <c:pt idx="189">
                  <c:v>11.14377981651376</c:v>
                </c:pt>
                <c:pt idx="190">
                  <c:v>11.14377981651376</c:v>
                </c:pt>
                <c:pt idx="191">
                  <c:v>11.018568807339449</c:v>
                </c:pt>
                <c:pt idx="192">
                  <c:v>11.018568807339449</c:v>
                </c:pt>
                <c:pt idx="193">
                  <c:v>11.018568807339449</c:v>
                </c:pt>
                <c:pt idx="194">
                  <c:v>11.018568807339449</c:v>
                </c:pt>
                <c:pt idx="195">
                  <c:v>11.175082568807339</c:v>
                </c:pt>
                <c:pt idx="196">
                  <c:v>11.206385321100916</c:v>
                </c:pt>
                <c:pt idx="197">
                  <c:v>11.206385321100916</c:v>
                </c:pt>
                <c:pt idx="198">
                  <c:v>11.206385321100916</c:v>
                </c:pt>
                <c:pt idx="199">
                  <c:v>11.488110091743117</c:v>
                </c:pt>
                <c:pt idx="200">
                  <c:v>12.145467889908256</c:v>
                </c:pt>
                <c:pt idx="201">
                  <c:v>12.145467889908256</c:v>
                </c:pt>
                <c:pt idx="202">
                  <c:v>12.145467889908256</c:v>
                </c:pt>
                <c:pt idx="203">
                  <c:v>12.145467889908256</c:v>
                </c:pt>
                <c:pt idx="204">
                  <c:v>13.397577981651375</c:v>
                </c:pt>
                <c:pt idx="205">
                  <c:v>13.397577981651375</c:v>
                </c:pt>
                <c:pt idx="206">
                  <c:v>13.397577981651375</c:v>
                </c:pt>
                <c:pt idx="207">
                  <c:v>13.397577981651375</c:v>
                </c:pt>
                <c:pt idx="208">
                  <c:v>13.835816513761467</c:v>
                </c:pt>
                <c:pt idx="209">
                  <c:v>14.180146788990825</c:v>
                </c:pt>
                <c:pt idx="210">
                  <c:v>14.180146788990825</c:v>
                </c:pt>
                <c:pt idx="211">
                  <c:v>14.180146788990825</c:v>
                </c:pt>
                <c:pt idx="212">
                  <c:v>14.117541284403668</c:v>
                </c:pt>
                <c:pt idx="213">
                  <c:v>13.710605504587154</c:v>
                </c:pt>
                <c:pt idx="214">
                  <c:v>13.710605504587154</c:v>
                </c:pt>
                <c:pt idx="215">
                  <c:v>13.710605504587154</c:v>
                </c:pt>
                <c:pt idx="216">
                  <c:v>13.491486238532106</c:v>
                </c:pt>
                <c:pt idx="217">
                  <c:v>12.176770642201834</c:v>
                </c:pt>
                <c:pt idx="218">
                  <c:v>12.176770642201834</c:v>
                </c:pt>
                <c:pt idx="219">
                  <c:v>12.176770642201834</c:v>
                </c:pt>
                <c:pt idx="220">
                  <c:v>12.176770642201834</c:v>
                </c:pt>
                <c:pt idx="221">
                  <c:v>11.175082568807339</c:v>
                </c:pt>
                <c:pt idx="222">
                  <c:v>10.768146788990824</c:v>
                </c:pt>
                <c:pt idx="223">
                  <c:v>10.768146788990824</c:v>
                </c:pt>
                <c:pt idx="224">
                  <c:v>10.768146788990824</c:v>
                </c:pt>
                <c:pt idx="225">
                  <c:v>10.768146788990824</c:v>
                </c:pt>
                <c:pt idx="226">
                  <c:v>10.768146788990824</c:v>
                </c:pt>
                <c:pt idx="227">
                  <c:v>10.768146788990824</c:v>
                </c:pt>
                <c:pt idx="228">
                  <c:v>10.768146788990824</c:v>
                </c:pt>
                <c:pt idx="229">
                  <c:v>10.768146788990824</c:v>
                </c:pt>
                <c:pt idx="230">
                  <c:v>11.175082568807339</c:v>
                </c:pt>
                <c:pt idx="231">
                  <c:v>11.175082568807339</c:v>
                </c:pt>
                <c:pt idx="232">
                  <c:v>11.175082568807339</c:v>
                </c:pt>
                <c:pt idx="233">
                  <c:v>11.175082568807339</c:v>
                </c:pt>
                <c:pt idx="234">
                  <c:v>11.488110091743117</c:v>
                </c:pt>
                <c:pt idx="235">
                  <c:v>11.61332110091743</c:v>
                </c:pt>
                <c:pt idx="236">
                  <c:v>11.61332110091743</c:v>
                </c:pt>
                <c:pt idx="237">
                  <c:v>11.61332110091743</c:v>
                </c:pt>
                <c:pt idx="238">
                  <c:v>11.644623853211009</c:v>
                </c:pt>
                <c:pt idx="239">
                  <c:v>11.707229357798164</c:v>
                </c:pt>
                <c:pt idx="240">
                  <c:v>11.707229357798164</c:v>
                </c:pt>
                <c:pt idx="241">
                  <c:v>11.707229357798164</c:v>
                </c:pt>
                <c:pt idx="242">
                  <c:v>11.707229357798164</c:v>
                </c:pt>
                <c:pt idx="243">
                  <c:v>11.61332110091743</c:v>
                </c:pt>
                <c:pt idx="244">
                  <c:v>11.61332110091743</c:v>
                </c:pt>
                <c:pt idx="245">
                  <c:v>11.61332110091743</c:v>
                </c:pt>
                <c:pt idx="246">
                  <c:v>11.61332110091743</c:v>
                </c:pt>
                <c:pt idx="247">
                  <c:v>11.707229357798164</c:v>
                </c:pt>
                <c:pt idx="248">
                  <c:v>11.76983486238532</c:v>
                </c:pt>
                <c:pt idx="249">
                  <c:v>11.76983486238532</c:v>
                </c:pt>
                <c:pt idx="250">
                  <c:v>11.76983486238532</c:v>
                </c:pt>
                <c:pt idx="251">
                  <c:v>11.92634862385321</c:v>
                </c:pt>
                <c:pt idx="252">
                  <c:v>12.740220183486239</c:v>
                </c:pt>
                <c:pt idx="253">
                  <c:v>12.740220183486239</c:v>
                </c:pt>
                <c:pt idx="254">
                  <c:v>12.740220183486239</c:v>
                </c:pt>
                <c:pt idx="255">
                  <c:v>12.740220183486239</c:v>
                </c:pt>
                <c:pt idx="256">
                  <c:v>13.80451376146789</c:v>
                </c:pt>
                <c:pt idx="257">
                  <c:v>13.992330275229355</c:v>
                </c:pt>
                <c:pt idx="258">
                  <c:v>13.992330275229355</c:v>
                </c:pt>
                <c:pt idx="259">
                  <c:v>13.992330275229355</c:v>
                </c:pt>
                <c:pt idx="260">
                  <c:v>14.336660550458715</c:v>
                </c:pt>
                <c:pt idx="261">
                  <c:v>14.806201834862385</c:v>
                </c:pt>
                <c:pt idx="262">
                  <c:v>14.806201834862385</c:v>
                </c:pt>
                <c:pt idx="263">
                  <c:v>14.806201834862385</c:v>
                </c:pt>
                <c:pt idx="264">
                  <c:v>14.806201834862385</c:v>
                </c:pt>
                <c:pt idx="265">
                  <c:v>14.336660550458715</c:v>
                </c:pt>
                <c:pt idx="266">
                  <c:v>14.336660550458715</c:v>
                </c:pt>
                <c:pt idx="267">
                  <c:v>14.336660550458715</c:v>
                </c:pt>
                <c:pt idx="268">
                  <c:v>14.336660550458715</c:v>
                </c:pt>
                <c:pt idx="269">
                  <c:v>12.521100917431191</c:v>
                </c:pt>
                <c:pt idx="270">
                  <c:v>12.521100917431191</c:v>
                </c:pt>
                <c:pt idx="271">
                  <c:v>12.521100917431191</c:v>
                </c:pt>
                <c:pt idx="272">
                  <c:v>12.521100917431191</c:v>
                </c:pt>
                <c:pt idx="273">
                  <c:v>11.519412844036697</c:v>
                </c:pt>
                <c:pt idx="274">
                  <c:v>10.736844036697248</c:v>
                </c:pt>
                <c:pt idx="275">
                  <c:v>10.736844036697248</c:v>
                </c:pt>
                <c:pt idx="276">
                  <c:v>10.736844036697248</c:v>
                </c:pt>
                <c:pt idx="277">
                  <c:v>10.705541284403669</c:v>
                </c:pt>
                <c:pt idx="278">
                  <c:v>10.642935779816513</c:v>
                </c:pt>
                <c:pt idx="279">
                  <c:v>10.642935779816513</c:v>
                </c:pt>
                <c:pt idx="280">
                  <c:v>10.642935779816513</c:v>
                </c:pt>
                <c:pt idx="281">
                  <c:v>10.642935779816513</c:v>
                </c:pt>
                <c:pt idx="282">
                  <c:v>10.98726605504587</c:v>
                </c:pt>
                <c:pt idx="283">
                  <c:v>11.018568807339449</c:v>
                </c:pt>
                <c:pt idx="284">
                  <c:v>11.018568807339449</c:v>
                </c:pt>
                <c:pt idx="285">
                  <c:v>11.018568807339449</c:v>
                </c:pt>
                <c:pt idx="286">
                  <c:v>11.268990825688073</c:v>
                </c:pt>
                <c:pt idx="287">
                  <c:v>11.456807339449542</c:v>
                </c:pt>
                <c:pt idx="288">
                  <c:v>11.456807339449542</c:v>
                </c:pt>
                <c:pt idx="289">
                  <c:v>11.456807339449542</c:v>
                </c:pt>
                <c:pt idx="290">
                  <c:v>11.488110091743117</c:v>
                </c:pt>
                <c:pt idx="291">
                  <c:v>11.582018348623851</c:v>
                </c:pt>
                <c:pt idx="292">
                  <c:v>11.582018348623851</c:v>
                </c:pt>
                <c:pt idx="293">
                  <c:v>11.582018348623851</c:v>
                </c:pt>
                <c:pt idx="294">
                  <c:v>11.582018348623851</c:v>
                </c:pt>
                <c:pt idx="295">
                  <c:v>11.488110091743117</c:v>
                </c:pt>
                <c:pt idx="296">
                  <c:v>11.456807339449542</c:v>
                </c:pt>
                <c:pt idx="297">
                  <c:v>11.456807339449542</c:v>
                </c:pt>
                <c:pt idx="298">
                  <c:v>11.456807339449542</c:v>
                </c:pt>
                <c:pt idx="299">
                  <c:v>11.550715596330274</c:v>
                </c:pt>
                <c:pt idx="300">
                  <c:v>11.675926605504587</c:v>
                </c:pt>
                <c:pt idx="301">
                  <c:v>11.675926605504587</c:v>
                </c:pt>
                <c:pt idx="302">
                  <c:v>11.675926605504587</c:v>
                </c:pt>
                <c:pt idx="303">
                  <c:v>11.675926605504587</c:v>
                </c:pt>
                <c:pt idx="304">
                  <c:v>12.708917431192658</c:v>
                </c:pt>
                <c:pt idx="305">
                  <c:v>12.708917431192658</c:v>
                </c:pt>
                <c:pt idx="306">
                  <c:v>12.708917431192658</c:v>
                </c:pt>
                <c:pt idx="307">
                  <c:v>12.708917431192658</c:v>
                </c:pt>
                <c:pt idx="308">
                  <c:v>13.585394495412842</c:v>
                </c:pt>
                <c:pt idx="309">
                  <c:v>13.929724770642201</c:v>
                </c:pt>
                <c:pt idx="310">
                  <c:v>13.929724770642201</c:v>
                </c:pt>
                <c:pt idx="311">
                  <c:v>13.929724770642201</c:v>
                </c:pt>
                <c:pt idx="312">
                  <c:v>14.1488440366972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16D-4A1A-8897-E70605B2D3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1184"/>
          <c:min val="1899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240587294664925E-2"/>
          <c:y val="6.8543451652386775E-2"/>
          <c:w val="0.93720017444395987"/>
          <c:h val="0.862913096695226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B5B-4296-AD57-51B7A7BA2E7A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B5B-4296-AD57-51B7A7BA2E7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B5B-4296-AD57-51B7A7BA2E7A}"/>
              </c:ext>
            </c:extLst>
          </c:dPt>
          <c:dLbls>
            <c:dLbl>
              <c:idx val="0"/>
              <c:layout>
                <c:manualLayout>
                  <c:x val="0"/>
                  <c:y val="-0.4006527947776417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B5B-4296-AD57-51B7A7BA2E7A}"/>
                </c:ext>
              </c:extLst>
            </c:dLbl>
            <c:dLbl>
              <c:idx val="1"/>
              <c:layout>
                <c:manualLayout>
                  <c:x val="0"/>
                  <c:y val="-0.373725010199918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B5B-4296-AD57-51B7A7BA2E7A}"/>
                </c:ext>
              </c:extLst>
            </c:dLbl>
            <c:dLbl>
              <c:idx val="2"/>
              <c:layout>
                <c:manualLayout>
                  <c:x val="0"/>
                  <c:y val="-0.3035495716034271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B5B-4296-AD57-51B7A7BA2E7A}"/>
                </c:ext>
              </c:extLst>
            </c:dLbl>
            <c:dLbl>
              <c:idx val="3"/>
              <c:layout>
                <c:manualLayout>
                  <c:x val="0"/>
                  <c:y val="-0.286821705426356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B5B-4296-AD57-51B7A7BA2E7A}"/>
                </c:ext>
              </c:extLst>
            </c:dLbl>
            <c:dLbl>
              <c:idx val="4"/>
              <c:layout>
                <c:manualLayout>
                  <c:x val="0"/>
                  <c:y val="-0.235006119951040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B5B-4296-AD57-51B7A7BA2E7A}"/>
                </c:ext>
              </c:extLst>
            </c:dLbl>
            <c:dLbl>
              <c:idx val="5"/>
              <c:layout>
                <c:manualLayout>
                  <c:x val="0"/>
                  <c:y val="-0.2146062831497347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B5B-4296-AD57-51B7A7BA2E7A}"/>
                </c:ext>
              </c:extLst>
            </c:dLbl>
            <c:dLbl>
              <c:idx val="6"/>
              <c:layout>
                <c:manualLayout>
                  <c:x val="0"/>
                  <c:y val="-0.152590779273765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B5B-4296-AD57-51B7A7BA2E7A}"/>
                </c:ext>
              </c:extLst>
            </c:dLbl>
            <c:dLbl>
              <c:idx val="8"/>
              <c:layout>
                <c:manualLayout>
                  <c:x val="0"/>
                  <c:y val="-0.2345981232150142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B5B-4296-AD57-51B7A7BA2E7A}"/>
                </c:ext>
              </c:extLst>
            </c:dLbl>
            <c:dLbl>
              <c:idx val="9"/>
              <c:layout>
                <c:manualLayout>
                  <c:x val="0"/>
                  <c:y val="-0.134638922888616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B5B-4296-AD57-51B7A7BA2E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0.25779999999999997</c:v>
                </c:pt>
                <c:pt idx="1">
                  <c:v>0.2389</c:v>
                </c:pt>
                <c:pt idx="2">
                  <c:v>0.18990000000000001</c:v>
                </c:pt>
                <c:pt idx="3">
                  <c:v>0.17849999999999999</c:v>
                </c:pt>
                <c:pt idx="4">
                  <c:v>0.1426</c:v>
                </c:pt>
                <c:pt idx="5">
                  <c:v>0.12839999999999999</c:v>
                </c:pt>
                <c:pt idx="6">
                  <c:v>8.5300000000000001E-2</c:v>
                </c:pt>
                <c:pt idx="8">
                  <c:v>0.14196</c:v>
                </c:pt>
                <c:pt idx="9">
                  <c:v>7.28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B5B-4296-AD57-51B7A7BA2E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1207008"/>
        <c:axId val="1"/>
      </c:barChart>
      <c:catAx>
        <c:axId val="1511207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30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0;&quot;-&quot;#,##0.0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511207008"/>
        <c:crosses val="min"/>
        <c:crossBetween val="between"/>
        <c:majorUnit val="0.0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6412806963009E-2"/>
          <c:y val="3.1687995124923825E-2"/>
          <c:w val="0.96767174386073984"/>
          <c:h val="0.936624009750152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A8E8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E6B-4561-A92B-7D317159B34E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335</c:v>
                </c:pt>
                <c:pt idx="1">
                  <c:v>1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6B-4561-A92B-7D317159B3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90251360"/>
        <c:axId val="1"/>
      </c:barChart>
      <c:catAx>
        <c:axId val="390251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50"/>
          <c:min val="800"/>
        </c:scaling>
        <c:delete val="1"/>
        <c:axPos val="l"/>
        <c:numFmt formatCode="General" sourceLinked="1"/>
        <c:majorTickMark val="out"/>
        <c:minorTickMark val="none"/>
        <c:tickLblPos val="nextTo"/>
        <c:crossAx val="3902513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6412806963009E-2"/>
          <c:y val="3.1687995124923825E-2"/>
          <c:w val="0.96767174386073984"/>
          <c:h val="0.936624009750152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A8E8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F49-4119-BAC1-50E5B171FCE3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335</c:v>
                </c:pt>
                <c:pt idx="1">
                  <c:v>1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49-4119-BAC1-50E5B171FC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79562368"/>
        <c:axId val="1"/>
      </c:barChart>
      <c:catAx>
        <c:axId val="379562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50"/>
          <c:min val="800"/>
        </c:scaling>
        <c:delete val="1"/>
        <c:axPos val="l"/>
        <c:numFmt formatCode="General" sourceLinked="1"/>
        <c:majorTickMark val="out"/>
        <c:minorTickMark val="none"/>
        <c:tickLblPos val="nextTo"/>
        <c:crossAx val="379562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1890694239291E-2"/>
          <c:y val="0.27656367746797289"/>
          <c:w val="0.96927621861152147"/>
          <c:h val="0.525244913338357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6073850791258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1C6-4337-ACAE-1925F2C161FF}"/>
                </c:ext>
              </c:extLst>
            </c:dLbl>
            <c:dLbl>
              <c:idx val="1"/>
              <c:layout>
                <c:manualLayout>
                  <c:x val="0"/>
                  <c:y val="-0.3409947249434815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1C6-4337-ACAE-1925F2C161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.9</c:v>
                </c:pt>
                <c:pt idx="1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C6-4337-ACAE-1925F2C161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5726847"/>
        <c:axId val="1"/>
      </c:barChart>
      <c:catAx>
        <c:axId val="1195726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3A8E8D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5999999999999996"/>
          <c:min val="3"/>
        </c:scaling>
        <c:delete val="1"/>
        <c:axPos val="l"/>
        <c:numFmt formatCode="General" sourceLinked="1"/>
        <c:majorTickMark val="out"/>
        <c:minorTickMark val="none"/>
        <c:tickLblPos val="nextTo"/>
        <c:crossAx val="1195726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91F5B57-B236-4981-97DF-ADA892A96111}" type="datetime1">
              <a:rPr lang="en-GB" smtClean="0"/>
              <a:t>16/10/2025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5BF6EE6-6533-46A0-A8FB-DBC252423243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 rtl="0">
              <a:defRPr sz="1300"/>
            </a:lvl1pPr>
          </a:lstStyle>
          <a:p>
            <a:fld id="{1B1D025B-ACD2-45C1-B156-1DDB470CE319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 rtl="0">
              <a:defRPr sz="1300"/>
            </a:lvl1pPr>
          </a:lstStyle>
          <a:p>
            <a:fld id="{CE93EFA3-06D8-45C2-B0EC-B850A748CAF1}" type="datetime1">
              <a:rPr lang="da-DK" smtClean="0"/>
              <a:pPr/>
              <a:t>16-10-2025</a:t>
            </a:fld>
            <a:endParaRPr lang="da-DK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 rtl="0">
              <a:defRPr sz="1300"/>
            </a:lvl1pPr>
          </a:lstStyle>
          <a:p>
            <a:endParaRPr lang="da-DK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 rtl="0">
              <a:defRPr sz="1300"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6C5C20-9060-70C4-3416-DE25ACC2F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0E41559-4007-ADFD-67E3-5B46428EAD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0E43E21C-E071-DCD9-A534-2F4A8E5CB4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73C68E-89A5-80B3-0E6D-9F2F9771AE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2</a:t>
            </a:fld>
            <a:endParaRPr lang="en-GB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29D0538-83BA-19B2-5C76-B8A57017820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D4DF777-9117-4FFD-ADC0-1633D41D8262}" type="datetime1">
              <a:rPr lang="en-GB" smtClean="0"/>
              <a:t>16/10/2025</a:t>
            </a:fld>
            <a:endParaRPr lang="en-GB"/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450E8B57-60CF-CC6B-FC47-9CA9D890004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CA7B56FA-59A2-61F0-9B2B-C0A74D89C6D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069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F90E6-FD62-5470-BD94-616D5DB61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837F521D-CC9C-DCBA-3010-F0197B6BB0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4321E38F-6861-19C8-0039-5BABCCA9EA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endParaRPr lang="da-DK" i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801F949-B782-F927-CFF5-7D9A2517EB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C63950F-B901-1095-4960-FA8B1225A85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93EFA3-06D8-45C2-B0EC-B850A748CAF1}" type="datetime1">
              <a:rPr lang="da-DK" smtClean="0"/>
              <a:pPr/>
              <a:t>16-10-2025</a:t>
            </a:fld>
            <a:endParaRPr lang="da-DK"/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647A905F-95BE-58FC-D4B7-4626A98A73B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DACBDF79-4A38-F9DA-6FFB-6A53ABC5CE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4659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74CC2-B421-8888-BA5F-F580B70DC4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8F2DBF1E-97DB-4548-A372-684C2A46F6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E389E4B-5887-9634-BC3E-08E91C4048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endParaRPr lang="da-DK" i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14B3F7A-C958-3312-9941-E8FA997F25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928C9EF-1F29-6722-B30D-9F6452AFED1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93EFA3-06D8-45C2-B0EC-B850A748CAF1}" type="datetime1">
              <a:rPr lang="da-DK" smtClean="0"/>
              <a:pPr/>
              <a:t>16-10-2025</a:t>
            </a:fld>
            <a:endParaRPr lang="da-DK"/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F82A79DF-1B6C-F8D7-6792-5EFFBB5B6A8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2AAEEB33-66E6-A65E-EF6E-CE82F6C277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30640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1CE82-380E-41E5-4DAC-28860AA1E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CDCB09DB-5D5A-B7B4-25F9-164823AFF6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F056960B-24E9-009A-BF4D-0A5609102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5679">
              <a:defRPr/>
            </a:pPr>
            <a:endParaRPr lang="da-DK" i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E1B2E0C-1CFE-026A-C236-97CB7F801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A88242E-01CA-FF8D-1761-22D93A329F4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7A26A71-21C7-43FC-A426-00178CD3215C}" type="datetime1">
              <a:rPr lang="en-GB" smtClean="0"/>
              <a:t>16/10/2025</a:t>
            </a:fld>
            <a:endParaRPr lang="da-DK"/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053C5BB5-EAF4-77F6-5E77-7ABEC62DBC6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5E8FD22D-5D5A-49FD-5440-76B83805D79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7297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D26E1-72FB-79E3-3F52-D43EBC40E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FF3DD604-FECB-59E5-EB9C-6BCA623622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28076B0A-281F-29B5-566D-D5CEE29BA2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C3D134-0860-A24D-7438-65DDD02167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1D025B-ACD2-45C1-B156-1DDB470CE3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DE807A0-E59F-4827-172B-D040AE22E7B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DF777-9117-4FFD-ADC0-1633D41D8262}" type="datetime1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/10/20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1987943B-829F-1CD0-5D0F-9E1472FCE96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0A7562D8-160C-4CDD-F1DD-236B843594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1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30148-C988-DF9B-0F4D-5B1537847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1FCA4E1-3C85-4C44-6A5E-F4EA492EB4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4EF324E-4757-3E6E-1AC5-5D1BF345B1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5B3941D-9AD2-A932-3068-D9441578D7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1D025B-ACD2-45C1-B156-1DDB470CE3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0F9D729-7D70-125E-ABBB-689F37DC5FC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4DF777-9117-4FFD-ADC0-1633D41D8262}" type="datetime1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/10/20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Pladsholder til sidehoved 5">
            <a:extLst>
              <a:ext uri="{FF2B5EF4-FFF2-40B4-BE49-F238E27FC236}">
                <a16:creationId xmlns:a16="http://schemas.microsoft.com/office/drawing/2014/main" id="{61AFACA1-B2E6-7559-8B71-6645CE64903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A2F72786-B62D-4DD9-4974-3A009043867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824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48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49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oleObject" Target="../embeddings/oleObject50.bin"/><Relationship Id="rId7" Type="http://schemas.openxmlformats.org/officeDocument/2006/relationships/image" Target="../media/image3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oleObject" Target="../embeddings/oleObject53.bin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image" Target="../media/image4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1">
    <p:bg>
      <p:bgPr>
        <a:solidFill>
          <a:srgbClr val="3076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960207-61BD-B025-433A-1F62BC3498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4015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960207-61BD-B025-433A-1F62BC3498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7D4C953E-044C-2850-17B0-7E95A0235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10E56259-23F3-89A4-D266-B064E61B8F12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7" name="Logo cut">
            <a:extLst>
              <a:ext uri="{FF2B5EF4-FFF2-40B4-BE49-F238E27FC236}">
                <a16:creationId xmlns:a16="http://schemas.microsoft.com/office/drawing/2014/main" id="{F56D5E37-A261-883F-7B76-020F34F417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3991" y="-2"/>
            <a:ext cx="4530276" cy="3492000"/>
          </a:xfrm>
          <a:prstGeom prst="rect">
            <a:avLst/>
          </a:prstGeom>
        </p:spPr>
      </p:pic>
      <p:pic>
        <p:nvPicPr>
          <p:cNvPr id="18" name="Logo">
            <a:extLst>
              <a:ext uri="{FF2B5EF4-FFF2-40B4-BE49-F238E27FC236}">
                <a16:creationId xmlns:a16="http://schemas.microsoft.com/office/drawing/2014/main" id="{3BEDE968-3549-2D15-6E62-DDD03F95FD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802800" y="5774400"/>
            <a:ext cx="1670858" cy="7235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rgbClr val="6FC2B6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rgbClr val="6FC2B6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rgbClr val="6FC2B6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rgbClr val="6FC2B6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rgbClr val="6FC2B6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4494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rgbClr val="FFEB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BED6576-73B2-377C-1EB1-0152C15D4D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91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ED6576-73B2-377C-1EB1-0152C15D4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2540C385-98FB-DC79-A183-8A6B3B6DC9FF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116ACD05-E0FB-4662-140A-C9AC8C972A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5418000"/>
          </a:xfrm>
        </p:spPr>
        <p:txBody>
          <a:bodyPr vert="horz"/>
          <a:lstStyle>
            <a:lvl1pPr rtl="0">
              <a:defRPr sz="4800">
                <a:solidFill>
                  <a:srgbClr val="FFA03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Agenda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275387" y="360000"/>
            <a:ext cx="5194800" cy="5418000"/>
          </a:xfrm>
        </p:spPr>
        <p:txBody>
          <a:bodyPr tIns="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FFA039"/>
                </a:solidFill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9pPr>
          </a:lstStyle>
          <a:p>
            <a:pPr lvl="0"/>
            <a:r>
              <a:rPr lang="da-DK" noProof="0"/>
              <a:t>Klik for at tilføje agenda punkt                     Klik ENTER og derefter TAB for at se næste tekstformat              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69651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 1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FC1C568-6189-CEAA-CDCE-0BBEBFCF6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51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C1C568-6189-CEAA-CDCE-0BBEBFCF6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CCDA797-4562-AFF4-91DB-F0C868EB30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2527200"/>
          </a:xfrm>
        </p:spPr>
        <p:txBody>
          <a:bodyPr vert="horz"/>
          <a:lstStyle>
            <a:lvl1pPr rtl="0">
              <a:defRPr sz="48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Program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4B48C5D-5EEE-5172-1AFC-F5F2445F67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250800"/>
            <a:ext cx="1504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307675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307675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307675"/>
                </a:solidFill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307675"/>
                </a:solidFill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>
                <a:solidFill>
                  <a:srgbClr val="307675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307675"/>
                </a:solidFill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307675"/>
                </a:solidFill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rgbClr val="307675"/>
                </a:solidFill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307675"/>
                </a:solidFill>
              </a:defRPr>
            </a:lvl9pPr>
          </a:lstStyle>
          <a:p>
            <a:pPr lvl="0"/>
            <a:r>
              <a:rPr lang="da-DK"/>
              <a:t>0900-1000</a:t>
            </a:r>
          </a:p>
          <a:p>
            <a:pPr lvl="1"/>
            <a:r>
              <a:rPr lang="da-DK"/>
              <a:t>02</a:t>
            </a:r>
          </a:p>
          <a:p>
            <a:pPr lvl="2"/>
            <a:r>
              <a:rPr lang="da-DK"/>
              <a:t>03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70400" y="3250800"/>
            <a:ext cx="8902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307675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3pPr>
            <a:lvl4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9pPr>
          </a:lstStyle>
          <a:p>
            <a:pPr lvl="0"/>
            <a:r>
              <a:rPr lang="da-DK" noProof="0"/>
              <a:t>Klik for at tilføje program punkt                                                                        Klik ENTER og derefter TAB for at se næste tekstformat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488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 2">
    <p:bg>
      <p:bgPr>
        <a:solidFill>
          <a:srgbClr val="B5C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B81F1A9-3523-0308-2395-3591589E5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274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1F1A9-3523-0308-2395-3591589E5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A704173-6321-0CD5-4019-C3F72CC4DE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2527200"/>
          </a:xfrm>
        </p:spPr>
        <p:txBody>
          <a:bodyPr vert="horz"/>
          <a:lstStyle>
            <a:lvl1pPr rtl="0">
              <a:defRPr sz="4800">
                <a:solidFill>
                  <a:srgbClr val="246C9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Program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4B48C5D-5EEE-5172-1AFC-F5F2445F67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250800"/>
            <a:ext cx="1504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246C99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246C99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246C99"/>
                </a:solidFill>
              </a:defRPr>
            </a:lvl3pPr>
            <a:lvl4pPr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246C99"/>
                </a:solidFill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246C99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246C99"/>
                </a:solidFill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246C99"/>
                </a:solidFill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rgbClr val="246C99"/>
                </a:solidFill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246C99"/>
                </a:solidFill>
              </a:defRPr>
            </a:lvl9pPr>
          </a:lstStyle>
          <a:p>
            <a:pPr lvl="0"/>
            <a:r>
              <a:rPr lang="da-DK"/>
              <a:t>0900-1000</a:t>
            </a:r>
          </a:p>
          <a:p>
            <a:pPr lvl="1"/>
            <a:r>
              <a:rPr lang="da-DK"/>
              <a:t>02</a:t>
            </a:r>
          </a:p>
          <a:p>
            <a:pPr lvl="2"/>
            <a:r>
              <a:rPr lang="da-DK"/>
              <a:t>03</a:t>
            </a:r>
          </a:p>
          <a:p>
            <a:pPr lvl="3"/>
            <a:endParaRPr lang="da-DK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70400" y="3250800"/>
            <a:ext cx="8902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246C99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3pPr>
            <a:lvl4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9pPr>
          </a:lstStyle>
          <a:p>
            <a:pPr lvl="0"/>
            <a:r>
              <a:rPr lang="da-DK" noProof="0"/>
              <a:t>Klik for at tilføje program punkt                                                                        Klik ENTER og derefter TAB for at se næste tekstformat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31205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 3">
    <p:bg>
      <p:bgPr>
        <a:solidFill>
          <a:srgbClr val="FFEB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985A4D6-A96F-05E8-A940-5E04D314C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873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5A4D6-A96F-05E8-A940-5E04D314C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61C6C49-D9BB-AB95-2049-BBF6AA00C5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2527200"/>
          </a:xfrm>
        </p:spPr>
        <p:txBody>
          <a:bodyPr vert="horz"/>
          <a:lstStyle>
            <a:lvl1pPr rtl="0">
              <a:defRPr sz="4800">
                <a:solidFill>
                  <a:srgbClr val="FFA03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Program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4B48C5D-5EEE-5172-1AFC-F5F2445F67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250800"/>
            <a:ext cx="1504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FFA039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FFA039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FFA039"/>
                </a:solidFill>
              </a:defRPr>
            </a:lvl3pPr>
            <a:lvl4pPr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FFA039"/>
                </a:solidFill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rgbClr val="FFA039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rgbClr val="FFA039"/>
                </a:solidFill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FFA039"/>
                </a:solidFill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rgbClr val="FFA039"/>
                </a:solidFill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defRPr sz="2000" b="0">
                <a:solidFill>
                  <a:srgbClr val="FFA039"/>
                </a:solidFill>
              </a:defRPr>
            </a:lvl9pPr>
          </a:lstStyle>
          <a:p>
            <a:pPr lvl="0"/>
            <a:r>
              <a:rPr lang="da-DK"/>
              <a:t>0900-1000</a:t>
            </a:r>
          </a:p>
          <a:p>
            <a:pPr lvl="1"/>
            <a:r>
              <a:rPr lang="da-DK"/>
              <a:t>02</a:t>
            </a:r>
          </a:p>
          <a:p>
            <a:pPr lvl="2"/>
            <a:r>
              <a:rPr lang="da-DK"/>
              <a:t>03</a:t>
            </a:r>
          </a:p>
          <a:p>
            <a:pPr lvl="3"/>
            <a:endParaRPr lang="da-DK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70400" y="3250800"/>
            <a:ext cx="8902800" cy="2527200"/>
          </a:xfrm>
        </p:spPr>
        <p:txBody>
          <a:bodyPr/>
          <a:lstStyle>
            <a:lvl1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FFA039"/>
                </a:solidFill>
              </a:defRPr>
            </a:lvl1pPr>
            <a:lvl2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2pPr>
            <a:lvl3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3pPr>
            <a:lvl4pPr marL="0" indent="0" rtl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FFA039"/>
                </a:solidFill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FFA039"/>
                </a:solidFill>
              </a:defRPr>
            </a:lvl9pPr>
          </a:lstStyle>
          <a:p>
            <a:pPr lvl="0"/>
            <a:r>
              <a:rPr lang="da-DK" noProof="0"/>
              <a:t>Klik for at tilføje program punkt                                                                        Klik ENTER og derefter TAB for at se næste tekstformat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90203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1">
    <p:bg>
      <p:bgPr>
        <a:solidFill>
          <a:srgbClr val="3076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4645BF4-956A-5748-C001-234A9D535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727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645BF4-956A-5748-C001-234A9D535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99FAD4D5-7412-735D-A46F-099026F4B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250800"/>
            <a:ext cx="8899200" cy="2527200"/>
          </a:xfrm>
        </p:spPr>
        <p:txBody>
          <a:bodyPr vert="horz" anchor="t" anchorCtr="0"/>
          <a:lstStyle>
            <a:lvl1pPr algn="l" rtl="0">
              <a:defRPr sz="6000">
                <a:solidFill>
                  <a:srgbClr val="6FC2B6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2">
    <p:bg>
      <p:bgPr>
        <a:solidFill>
          <a:srgbClr val="B5C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D9E4A0-65C6-400C-69EA-322C24584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86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D9E4A0-65C6-400C-69EA-322C24584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DE079C1-0AB3-606B-6353-76E99B4922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250800"/>
            <a:ext cx="8899200" cy="2527200"/>
          </a:xfrm>
        </p:spPr>
        <p:txBody>
          <a:bodyPr vert="horz" anchor="t" anchorCtr="0"/>
          <a:lstStyle>
            <a:lvl1pPr algn="l" rtl="0">
              <a:defRPr sz="6000">
                <a:solidFill>
                  <a:srgbClr val="246C9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3948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3">
    <p:bg>
      <p:bgPr>
        <a:solidFill>
          <a:srgbClr val="FFEB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10D1F1F-A1CF-D030-7112-7C5CE85418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56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0D1F1F-A1CF-D030-7112-7C5CE85418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5D8986E3-0066-5CA7-1B62-2DA19C27DA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250800"/>
            <a:ext cx="8899200" cy="2527200"/>
          </a:xfrm>
        </p:spPr>
        <p:txBody>
          <a:bodyPr vert="horz" anchor="t" anchorCtr="0"/>
          <a:lstStyle>
            <a:lvl1pPr algn="l" rtl="0">
              <a:defRPr sz="6000">
                <a:solidFill>
                  <a:srgbClr val="FFA03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031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dholdsobje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67F8DC-D50A-A41C-6A27-3B1DC7E870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19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67F8DC-D50A-A41C-6A27-3B1DC7E87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189A4E-0D43-489B-A148-5121601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20000" y="748800"/>
            <a:ext cx="10753200" cy="4428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rgbClr val="307675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under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                                                                                                   Klik ENTER og derefter TAB for at se næste tekstformat                  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5" name="Text Placeholder notes">
            <a:extLst>
              <a:ext uri="{FF2B5EF4-FFF2-40B4-BE49-F238E27FC236}">
                <a16:creationId xmlns:a16="http://schemas.microsoft.com/office/drawing/2014/main" id="{15DCBE93-16DF-5E1A-8EFA-95194A7F2D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18F7EC97-F848-A956-CEB0-F6D6CBE1803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E63CBC1-72F1-DB39-C952-12A188EC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CBF9A72-14BC-139F-C453-C97E033BBF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8781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5" userDrawn="1">
          <p15:clr>
            <a:srgbClr val="A4A3A4"/>
          </p15:clr>
        </p15:guide>
        <p15:guide id="2" orient="horz" pos="4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dholdsobje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CED691-4931-B624-BE57-175B4726E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0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CED691-4931-B624-BE57-175B4726E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                                                                                                   Klik ENTER og derefter TAB for at se næste tekstformat                  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4" name="Text Placeholder notes">
            <a:extLst>
              <a:ext uri="{FF2B5EF4-FFF2-40B4-BE49-F238E27FC236}">
                <a16:creationId xmlns:a16="http://schemas.microsoft.com/office/drawing/2014/main" id="{D9307A3F-48ED-BFF2-0897-5372855C27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5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dholdsobjek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862D67-2FA7-698D-CA80-D180F2453C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223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862D67-2FA7-698D-CA80-D180F2453C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10753200" cy="831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548000"/>
            <a:ext cx="5194800" cy="423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400" y="1548000"/>
            <a:ext cx="5194800" cy="423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4" name="Text Placeholder notes">
            <a:extLst>
              <a:ext uri="{FF2B5EF4-FFF2-40B4-BE49-F238E27FC236}">
                <a16:creationId xmlns:a16="http://schemas.microsoft.com/office/drawing/2014/main" id="{6A66450D-799C-3EF5-DF0C-603BC9EDFA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B49660F-B2FB-4041-2653-C61DAA5A1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D8EA3FD-C1FD-6A92-B851-3CA9A5AC7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38DC114-746C-3747-B023-3D61439FC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975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2">
    <p:bg>
      <p:bgPr>
        <a:solidFill>
          <a:srgbClr val="246C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BC29C3-DCC0-0A01-2731-99CA5D583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239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BC29C3-DCC0-0A01-2731-99CA5D583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EAB327AF-42AC-E364-07FB-10A23B1F95E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10E56259-23F3-89A4-D266-B064E61B8F12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11" name="Logo cut">
            <a:extLst>
              <a:ext uri="{FF2B5EF4-FFF2-40B4-BE49-F238E27FC236}">
                <a16:creationId xmlns:a16="http://schemas.microsoft.com/office/drawing/2014/main" id="{4F3B07F5-A217-70CB-0460-B3D837CD2A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3991" y="-2"/>
            <a:ext cx="4530276" cy="3491999"/>
          </a:xfrm>
          <a:prstGeom prst="rect">
            <a:avLst/>
          </a:prstGeom>
        </p:spPr>
      </p:pic>
      <p:pic>
        <p:nvPicPr>
          <p:cNvPr id="18" name="Logo">
            <a:extLst>
              <a:ext uri="{FF2B5EF4-FFF2-40B4-BE49-F238E27FC236}">
                <a16:creationId xmlns:a16="http://schemas.microsoft.com/office/drawing/2014/main" id="{3BEDE968-3549-2D15-6E62-DDD03F95FD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802800" y="5774400"/>
            <a:ext cx="1670858" cy="7235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rgbClr val="B5C7DE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rgbClr val="B5C7DE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rgbClr val="B5C7DE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rgbClr val="B5C7DE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rgbClr val="B5C7DE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9419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dholdsobjek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AE7EE58-DB06-72D1-3CA4-8CBFBFB111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66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E7EE58-DB06-72D1-3CA4-8CBFBFB11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322C759-0461-13EB-A48E-2D5B37DFF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5025" cy="8316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547812"/>
            <a:ext cx="5194800" cy="42337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                                                                                                   Klik ENTER og derefter TAB for at se næste tekstformat                  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55C24F7-4115-509F-AD2C-176AAF55188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400" y="358775"/>
            <a:ext cx="5194800" cy="54192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4" name="Text Placeholder notes">
            <a:extLst>
              <a:ext uri="{FF2B5EF4-FFF2-40B4-BE49-F238E27FC236}">
                <a16:creationId xmlns:a16="http://schemas.microsoft.com/office/drawing/2014/main" id="{D9307A3F-48ED-BFF2-0897-5372855C27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15580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3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AC1E4BB-81CB-F04C-AA09-E737E06C7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718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C1E4BB-81CB-F04C-AA09-E737E06C7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360000"/>
            <a:ext cx="3340800" cy="25344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3254400"/>
            <a:ext cx="3342413" cy="2527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D1EC185-5B12-41DF-8263-14BD8E01E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400" y="360000"/>
            <a:ext cx="3344399" cy="5421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51A870A-B49A-41AB-A520-9F693B2A477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25289" y="360000"/>
            <a:ext cx="3344399" cy="5421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8" name="Text Placeholder notes">
            <a:extLst>
              <a:ext uri="{FF2B5EF4-FFF2-40B4-BE49-F238E27FC236}">
                <a16:creationId xmlns:a16="http://schemas.microsoft.com/office/drawing/2014/main" id="{4F60BC23-5D5D-8222-AE53-52D6C5BEB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0E92CEF-2F21-286F-98A9-58851EAF50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0EA4AD-EF7C-E6BC-A6D9-2A2959EA36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19564B-96D9-829D-6452-26141B92464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8212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50" userDrawn="1">
          <p15:clr>
            <a:srgbClr val="A4A3A4"/>
          </p15:clr>
        </p15:guide>
        <p15:guide id="2" orient="horz" pos="1823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1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56E2174-CEBA-29AD-A794-6CD72A4EA5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6448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6E2174-CEBA-29AD-A794-6CD72A4EA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285200"/>
            <a:ext cx="10749600" cy="4492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Klik for at tilføje tekst                                                                                                                                                       Klik ENTER og derefter TAB for at se næste tekstformat                  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4" name="Text Placeholder notes">
            <a:extLst>
              <a:ext uri="{FF2B5EF4-FFF2-40B4-BE49-F238E27FC236}">
                <a16:creationId xmlns:a16="http://schemas.microsoft.com/office/drawing/2014/main" id="{D9307A3F-48ED-BFF2-0897-5372855C27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8228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07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4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9FC179-076B-4F35-DA04-0C97FF928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80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9FC179-076B-4F35-DA04-0C97FF928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BE989824-D13A-080F-3E2F-F8C754E3C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10753200" cy="831600"/>
          </a:xfrm>
        </p:spPr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285200"/>
            <a:ext cx="5194800" cy="1609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endParaRPr lang="da-DK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0000" y="3250800"/>
            <a:ext cx="51948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marL="0" indent="0">
              <a:buFont typeface="Arial" panose="020B0604020202020204" pitchFamily="34" charset="0"/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8400" y="1285200"/>
            <a:ext cx="5194800" cy="1609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endParaRPr lang="da-DK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78400" y="3250800"/>
            <a:ext cx="51948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4" name="Text Placeholder notes">
            <a:extLst>
              <a:ext uri="{FF2B5EF4-FFF2-40B4-BE49-F238E27FC236}">
                <a16:creationId xmlns:a16="http://schemas.microsoft.com/office/drawing/2014/main" id="{D1161E37-0535-57AA-D723-366703ABF8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18" name="Date Placeholder 17" hidden="1">
            <a:extLst>
              <a:ext uri="{FF2B5EF4-FFF2-40B4-BE49-F238E27FC236}">
                <a16:creationId xmlns:a16="http://schemas.microsoft.com/office/drawing/2014/main" id="{FCDDF5E6-CAB5-6C77-AB8D-98F0E124230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7C6F32E-A090-074F-33E2-95B9BA32B0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644EFCB-D489-1FF4-F789-F6FCABECCA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4499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 userDrawn="1">
          <p15:clr>
            <a:srgbClr val="A4A3A4"/>
          </p15:clr>
        </p15:guide>
        <p15:guide id="2" orient="horz" pos="2045" userDrawn="1">
          <p15:clr>
            <a:srgbClr val="A4A3A4"/>
          </p15:clr>
        </p15:guide>
        <p15:guide id="3" orient="horz" pos="808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5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F2353E4-E138-64B4-B147-E42091F58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127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2353E4-E138-64B4-B147-E42091F58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BE989824-D13A-080F-3E2F-F8C754E3C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3344400" cy="2527200"/>
          </a:xfrm>
        </p:spPr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endParaRPr lang="da-DK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400" y="3600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marL="90000" indent="-90000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endParaRPr lang="da-DK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44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endParaRPr lang="da-DK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28800" y="3600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endParaRPr lang="da-DK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288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endParaRPr lang="da-DK" noProof="0"/>
          </a:p>
        </p:txBody>
      </p:sp>
      <p:sp>
        <p:nvSpPr>
          <p:cNvPr id="14" name="Text Placeholder notes">
            <a:extLst>
              <a:ext uri="{FF2B5EF4-FFF2-40B4-BE49-F238E27FC236}">
                <a16:creationId xmlns:a16="http://schemas.microsoft.com/office/drawing/2014/main" id="{D1161E37-0535-57AA-D723-366703ABF8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18" name="Date Placeholder 17" hidden="1">
            <a:extLst>
              <a:ext uri="{FF2B5EF4-FFF2-40B4-BE49-F238E27FC236}">
                <a16:creationId xmlns:a16="http://schemas.microsoft.com/office/drawing/2014/main" id="{FCDDF5E6-CAB5-6C77-AB8D-98F0E124230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7C6F32E-A090-074F-33E2-95B9BA32B0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644EFCB-D489-1FF4-F789-F6FCABECCA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1455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 userDrawn="1">
          <p15:clr>
            <a:srgbClr val="A4A3A4"/>
          </p15:clr>
        </p15:guide>
        <p15:guide id="2" orient="horz" pos="2045" userDrawn="1">
          <p15:clr>
            <a:srgbClr val="A4A3A4"/>
          </p15:clr>
        </p15:guide>
        <p15:guide id="3" orient="horz" pos="808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6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E984DA0-846C-6193-C138-8DDD6ACC41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373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984DA0-846C-6193-C138-8DDD6ACC4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BE989824-D13A-080F-3E2F-F8C754E3C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10753200" cy="831600"/>
          </a:xfrm>
        </p:spPr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285200"/>
            <a:ext cx="3344400" cy="1609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endParaRPr lang="da-DK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00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marL="90000" indent="-90000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4400" y="1285200"/>
            <a:ext cx="3344400" cy="1609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endParaRPr lang="da-DK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4244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28800" y="1285200"/>
            <a:ext cx="3344400" cy="1609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endParaRPr lang="da-DK" noProof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8800" y="3250800"/>
            <a:ext cx="33444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da-DK" noProof="0"/>
              <a:t>Klik for at tilføje tekst                  Klik ENTER og derefter TAB for at se næste tekstformat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4" name="Text Placeholder notes">
            <a:extLst>
              <a:ext uri="{FF2B5EF4-FFF2-40B4-BE49-F238E27FC236}">
                <a16:creationId xmlns:a16="http://schemas.microsoft.com/office/drawing/2014/main" id="{D1161E37-0535-57AA-D723-366703ABF8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18" name="Date Placeholder 17" hidden="1">
            <a:extLst>
              <a:ext uri="{FF2B5EF4-FFF2-40B4-BE49-F238E27FC236}">
                <a16:creationId xmlns:a16="http://schemas.microsoft.com/office/drawing/2014/main" id="{FCDDF5E6-CAB5-6C77-AB8D-98F0E124230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7C6F32E-A090-074F-33E2-95B9BA32B0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644EFCB-D489-1FF4-F789-F6FCABECCA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842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 userDrawn="1">
          <p15:clr>
            <a:srgbClr val="A4A3A4"/>
          </p15:clr>
        </p15:guide>
        <p15:guide id="2" orient="horz" pos="2045" userDrawn="1">
          <p15:clr>
            <a:srgbClr val="A4A3A4"/>
          </p15:clr>
        </p15:guide>
        <p15:guide id="3" orient="horz" pos="808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7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604E30E-E98B-092D-55C0-AD8497FB6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49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04E30E-E98B-092D-55C0-AD8497FB6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BE989824-D13A-080F-3E2F-F8C754E3C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2416900" cy="2534400"/>
          </a:xfrm>
        </p:spPr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32508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499200" y="3600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99200" y="32508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74800" y="3600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4800" y="32508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054000" y="3600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27C889C0-3946-D7C1-956A-0DC95ED8667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054000" y="3250800"/>
            <a:ext cx="2419200" cy="25344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4" name="Text Placeholder notes">
            <a:extLst>
              <a:ext uri="{FF2B5EF4-FFF2-40B4-BE49-F238E27FC236}">
                <a16:creationId xmlns:a16="http://schemas.microsoft.com/office/drawing/2014/main" id="{D1161E37-0535-57AA-D723-366703ABF8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18" name="Date Placeholder 17" hidden="1">
            <a:extLst>
              <a:ext uri="{FF2B5EF4-FFF2-40B4-BE49-F238E27FC236}">
                <a16:creationId xmlns:a16="http://schemas.microsoft.com/office/drawing/2014/main" id="{FCDDF5E6-CAB5-6C77-AB8D-98F0E124230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7C6F32E-A090-074F-33E2-95B9BA32B0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644EFCB-D489-1FF4-F789-F6FCABECCA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3806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 userDrawn="1">
          <p15:clr>
            <a:srgbClr val="A4A3A4"/>
          </p15:clr>
        </p15:guide>
        <p15:guide id="2" orient="horz" pos="2047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 8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EBFCC4-0A42-8B00-660A-9E9E11AD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576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EBFCC4-0A42-8B00-660A-9E9E11AD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BE989824-D13A-080F-3E2F-F8C754E3C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10753200" cy="831600"/>
          </a:xfrm>
        </p:spPr>
        <p:txBody>
          <a:bodyPr vert="horz"/>
          <a:lstStyle>
            <a:lvl1pPr rtl="0">
              <a:defRPr sz="20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0000" y="1285200"/>
            <a:ext cx="2419200" cy="1609200"/>
          </a:xfrm>
        </p:spPr>
        <p:txBody>
          <a:bodyPr/>
          <a:lstStyle>
            <a:lvl1pPr rtl="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0000" y="3250800"/>
            <a:ext cx="24192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99200" y="1285200"/>
            <a:ext cx="2419200" cy="1609200"/>
          </a:xfrm>
        </p:spPr>
        <p:txBody>
          <a:bodyPr/>
          <a:lstStyle>
            <a:lvl1pPr rtl="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  <a:endParaRPr lang="da-DK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99200" y="3250800"/>
            <a:ext cx="24192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4800" y="1285200"/>
            <a:ext cx="2419200" cy="1609200"/>
          </a:xfrm>
        </p:spPr>
        <p:txBody>
          <a:bodyPr/>
          <a:lstStyle>
            <a:lvl1pPr rtl="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  <a:endParaRPr lang="da-DK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4800" y="3250800"/>
            <a:ext cx="24192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27C889C0-3946-D7C1-956A-0DC95ED8667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054000" y="1285200"/>
            <a:ext cx="2419200" cy="1609200"/>
          </a:xfrm>
        </p:spPr>
        <p:txBody>
          <a:bodyPr/>
          <a:lstStyle>
            <a:lvl1pPr rtl="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  <a:endParaRPr lang="da-DK"/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573F37A-698E-3A72-D153-0ACF8992DF0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054000" y="3250800"/>
            <a:ext cx="2419200" cy="2527200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/>
              <a:t>Klik for at tilføje tekst  Klik ENTER og derefter TAB for at se næste tekstformat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  <a:endParaRPr lang="da-DK"/>
          </a:p>
        </p:txBody>
      </p:sp>
      <p:sp>
        <p:nvSpPr>
          <p:cNvPr id="14" name="Text Placeholder notes">
            <a:extLst>
              <a:ext uri="{FF2B5EF4-FFF2-40B4-BE49-F238E27FC236}">
                <a16:creationId xmlns:a16="http://schemas.microsoft.com/office/drawing/2014/main" id="{D1161E37-0535-57AA-D723-366703ABF8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18" name="Date Placeholder 17" hidden="1">
            <a:extLst>
              <a:ext uri="{FF2B5EF4-FFF2-40B4-BE49-F238E27FC236}">
                <a16:creationId xmlns:a16="http://schemas.microsoft.com/office/drawing/2014/main" id="{FCDDF5E6-CAB5-6C77-AB8D-98F0E124230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7C6F32E-A090-074F-33E2-95B9BA32B0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644EFCB-D489-1FF4-F789-F6FCABECCA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9690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 userDrawn="1">
          <p15:clr>
            <a:srgbClr val="A4A3A4"/>
          </p15:clr>
        </p15:guide>
        <p15:guide id="2" orient="horz" pos="2047" userDrawn="1">
          <p15:clr>
            <a:srgbClr val="A4A3A4"/>
          </p15:clr>
        </p15:guide>
        <p15:guide id="3" orient="horz" pos="806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dholdsobjekt og billede 1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BDB356-A2ED-7C34-EC71-E9BA063AA8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207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DB356-A2ED-7C34-EC71-E9BA063AA8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609720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4" name="Text Placeholder Logo">
            <a:extLst>
              <a:ext uri="{FF2B5EF4-FFF2-40B4-BE49-F238E27FC236}">
                <a16:creationId xmlns:a16="http://schemas.microsoft.com/office/drawing/2014/main" id="{06D67678-0A0F-17A5-BE38-65307CC28F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8487" y="5957134"/>
            <a:ext cx="1242000" cy="540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4629600" cy="831600"/>
          </a:xfrm>
        </p:spPr>
        <p:txBody>
          <a:bodyPr vert="horz"/>
          <a:lstStyle>
            <a:lvl1pPr rtl="0">
              <a:defRPr b="0">
                <a:solidFill>
                  <a:srgbClr val="6FC2B6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D02D20-94F3-A4F5-66B6-FEF7D86C7B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137" y="1547813"/>
            <a:ext cx="4629151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3pPr>
            <a:lvl4pPr rtl="0">
              <a:defRPr>
                <a:solidFill>
                  <a:srgbClr val="6FC2B6"/>
                </a:solidFill>
              </a:defRPr>
            </a:lvl4pPr>
            <a:lvl5pPr rtl="0">
              <a:defRPr>
                <a:solidFill>
                  <a:srgbClr val="6FC2B6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6pPr>
            <a:lvl7pPr rtl="0">
              <a:defRPr>
                <a:solidFill>
                  <a:srgbClr val="6FC2B6"/>
                </a:solidFill>
              </a:defRPr>
            </a:lvl7pPr>
            <a:lvl8pPr rtl="0">
              <a:defRPr>
                <a:solidFill>
                  <a:srgbClr val="6FC2B6"/>
                </a:solidFill>
              </a:defRPr>
            </a:lvl8pPr>
            <a:lvl9pPr rtl="0">
              <a:defRPr>
                <a:solidFill>
                  <a:srgbClr val="6FC2B6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5914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7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dholdsobjekt og billede 2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6D564A7-4EC4-5EB6-1A7C-547701CF6E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08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64A7-4EC4-5EB6-1A7C-547701CF6E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609720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4" name="Text Placeholder Logo">
            <a:extLst>
              <a:ext uri="{FF2B5EF4-FFF2-40B4-BE49-F238E27FC236}">
                <a16:creationId xmlns:a16="http://schemas.microsoft.com/office/drawing/2014/main" id="{06D67678-0A0F-17A5-BE38-65307CC28F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8487" y="5957134"/>
            <a:ext cx="1242000" cy="540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4629600" cy="831600"/>
          </a:xfrm>
        </p:spPr>
        <p:txBody>
          <a:bodyPr vert="horz"/>
          <a:lstStyle>
            <a:lvl1pPr rtl="0">
              <a:defRPr b="0">
                <a:solidFill>
                  <a:srgbClr val="B5C7DE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5C24E94-3670-B332-C95E-F830AE159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137" y="1547813"/>
            <a:ext cx="4629151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3pPr>
            <a:lvl4pPr rtl="0">
              <a:defRPr>
                <a:solidFill>
                  <a:srgbClr val="B5C7DE"/>
                </a:solidFill>
              </a:defRPr>
            </a:lvl4pPr>
            <a:lvl5pPr rtl="0">
              <a:defRPr>
                <a:solidFill>
                  <a:srgbClr val="B5C7DE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6pPr>
            <a:lvl7pPr rtl="0">
              <a:defRPr>
                <a:solidFill>
                  <a:srgbClr val="B5C7DE"/>
                </a:solidFill>
              </a:defRPr>
            </a:lvl7pPr>
            <a:lvl8pPr rtl="0">
              <a:defRPr>
                <a:solidFill>
                  <a:srgbClr val="B5C7DE"/>
                </a:solidFill>
              </a:defRPr>
            </a:lvl8pPr>
            <a:lvl9pPr rtl="0">
              <a:defRPr>
                <a:solidFill>
                  <a:srgbClr val="B5C7DE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4406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og bille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54B1E0D-F74F-5A10-AC3F-327DAACFF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480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4B1E0D-F74F-5A10-AC3F-327DAACFF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 hidden="1">
            <a:extLst>
              <a:ext uri="{FF2B5EF4-FFF2-40B4-BE49-F238E27FC236}">
                <a16:creationId xmlns:a16="http://schemas.microsoft.com/office/drawing/2014/main" id="{44F5BB7B-A56C-FF4C-5E7D-8595307DB9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7A38070D-BE7B-DB42-4133-B218FF7271ED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7" name="Billedepladsholder">
            <a:extLst>
              <a:ext uri="{FF2B5EF4-FFF2-40B4-BE49-F238E27FC236}">
                <a16:creationId xmlns:a16="http://schemas.microsoft.com/office/drawing/2014/main" id="{D19DED2D-CB98-2D06-ED46-5564F92D76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7847702 w 12193200"/>
              <a:gd name="connsiteY1" fmla="*/ 0 h 6861600"/>
              <a:gd name="connsiteX2" fmla="*/ 7773894 w 12193200"/>
              <a:gd name="connsiteY2" fmla="*/ 205219 h 6861600"/>
              <a:gd name="connsiteX3" fmla="*/ 7667636 w 12193200"/>
              <a:gd name="connsiteY3" fmla="*/ 864184 h 6861600"/>
              <a:gd name="connsiteX4" fmla="*/ 7663991 w 12193200"/>
              <a:gd name="connsiteY4" fmla="*/ 1045692 h 6861600"/>
              <a:gd name="connsiteX5" fmla="*/ 8350737 w 12193200"/>
              <a:gd name="connsiteY5" fmla="*/ 1045692 h 6861600"/>
              <a:gd name="connsiteX6" fmla="*/ 8355314 w 12193200"/>
              <a:gd name="connsiteY6" fmla="*/ 872406 h 6861600"/>
              <a:gd name="connsiteX7" fmla="*/ 8510839 w 12193200"/>
              <a:gd name="connsiteY7" fmla="*/ 199108 h 6861600"/>
              <a:gd name="connsiteX8" fmla="*/ 8618103 w 12193200"/>
              <a:gd name="connsiteY8" fmla="*/ 0 h 6861600"/>
              <a:gd name="connsiteX9" fmla="*/ 12193200 w 12193200"/>
              <a:gd name="connsiteY9" fmla="*/ 0 h 6861600"/>
              <a:gd name="connsiteX10" fmla="*/ 12193200 w 12193200"/>
              <a:gd name="connsiteY10" fmla="*/ 385347 h 6861600"/>
              <a:gd name="connsiteX11" fmla="*/ 10356263 w 12193200"/>
              <a:gd name="connsiteY11" fmla="*/ 385347 h 6861600"/>
              <a:gd name="connsiteX12" fmla="*/ 10356263 w 12193200"/>
              <a:gd name="connsiteY12" fmla="*/ 1052938 h 6861600"/>
              <a:gd name="connsiteX13" fmla="*/ 11875707 w 12193200"/>
              <a:gd name="connsiteY13" fmla="*/ 1052938 h 6861600"/>
              <a:gd name="connsiteX14" fmla="*/ 11874774 w 12193200"/>
              <a:gd name="connsiteY14" fmla="*/ 1104936 h 6861600"/>
              <a:gd name="connsiteX15" fmla="*/ 10135555 w 12193200"/>
              <a:gd name="connsiteY15" fmla="*/ 2803133 h 6861600"/>
              <a:gd name="connsiteX16" fmla="*/ 10048891 w 12193200"/>
              <a:gd name="connsiteY16" fmla="*/ 2801311 h 6861600"/>
              <a:gd name="connsiteX17" fmla="*/ 10048891 w 12193200"/>
              <a:gd name="connsiteY17" fmla="*/ 3489879 h 6861600"/>
              <a:gd name="connsiteX18" fmla="*/ 10135555 w 12193200"/>
              <a:gd name="connsiteY18" fmla="*/ 3490769 h 6861600"/>
              <a:gd name="connsiteX19" fmla="*/ 12018386 w 12193200"/>
              <a:gd name="connsiteY19" fmla="*/ 2587286 h 6861600"/>
              <a:gd name="connsiteX20" fmla="*/ 12193200 w 12193200"/>
              <a:gd name="connsiteY20" fmla="*/ 2342909 h 6861600"/>
              <a:gd name="connsiteX21" fmla="*/ 12193200 w 12193200"/>
              <a:gd name="connsiteY21" fmla="*/ 6861600 h 6861600"/>
              <a:gd name="connsiteX22" fmla="*/ 0 w 12193200"/>
              <a:gd name="connsiteY22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7847702" y="0"/>
                </a:lnTo>
                <a:lnTo>
                  <a:pt x="7773894" y="205219"/>
                </a:lnTo>
                <a:cubicBezTo>
                  <a:pt x="7709177" y="414528"/>
                  <a:pt x="7672244" y="635625"/>
                  <a:pt x="7667636" y="864184"/>
                </a:cubicBezTo>
                <a:lnTo>
                  <a:pt x="7663991" y="1045692"/>
                </a:lnTo>
                <a:lnTo>
                  <a:pt x="8350737" y="1045692"/>
                </a:lnTo>
                <a:lnTo>
                  <a:pt x="8355314" y="872406"/>
                </a:lnTo>
                <a:cubicBezTo>
                  <a:pt x="8361130" y="633295"/>
                  <a:pt x="8416315" y="405626"/>
                  <a:pt x="8510839" y="199108"/>
                </a:cubicBezTo>
                <a:lnTo>
                  <a:pt x="8618103" y="0"/>
                </a:lnTo>
                <a:lnTo>
                  <a:pt x="12193200" y="0"/>
                </a:lnTo>
                <a:lnTo>
                  <a:pt x="12193200" y="385347"/>
                </a:lnTo>
                <a:lnTo>
                  <a:pt x="10356263" y="385347"/>
                </a:lnTo>
                <a:lnTo>
                  <a:pt x="10356263" y="1052938"/>
                </a:lnTo>
                <a:lnTo>
                  <a:pt x="11875707" y="1052938"/>
                </a:lnTo>
                <a:lnTo>
                  <a:pt x="11874774" y="1104936"/>
                </a:lnTo>
                <a:cubicBezTo>
                  <a:pt x="11851975" y="2041589"/>
                  <a:pt x="11071276" y="2803133"/>
                  <a:pt x="10135555" y="2803133"/>
                </a:cubicBezTo>
                <a:lnTo>
                  <a:pt x="10048891" y="2801311"/>
                </a:lnTo>
                <a:lnTo>
                  <a:pt x="10048891" y="3489879"/>
                </a:lnTo>
                <a:lnTo>
                  <a:pt x="10135555" y="3490769"/>
                </a:lnTo>
                <a:cubicBezTo>
                  <a:pt x="10890048" y="3490769"/>
                  <a:pt x="11571051" y="3137398"/>
                  <a:pt x="12018386" y="2587286"/>
                </a:cubicBezTo>
                <a:lnTo>
                  <a:pt x="12193200" y="2342909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" tIns="0" rIns="72000" bIns="72000" anchor="b" anchorCtr="0"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1400"/>
            </a:lvl1pPr>
          </a:lstStyle>
          <a:p>
            <a:r>
              <a:rPr lang="da-DK"/>
              <a:t>Klik på rammen og indsæt et billede, via fanen ”Indsæt” vælg ”Billede” fra F:\Grafik\Powerpoint-billeder</a:t>
            </a:r>
          </a:p>
        </p:txBody>
      </p:sp>
      <p:sp>
        <p:nvSpPr>
          <p:cNvPr id="13" name="Placeholder Logo">
            <a:extLst>
              <a:ext uri="{FF2B5EF4-FFF2-40B4-BE49-F238E27FC236}">
                <a16:creationId xmlns:a16="http://schemas.microsoft.com/office/drawing/2014/main" id="{72C4FD16-9228-4896-47CA-F8162A8BA5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2800" y="5774400"/>
            <a:ext cx="1670400" cy="72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0350617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indholdsobjekt og billede 2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7A4BD68-5012-19CE-3400-0E10B725B8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1179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4BD68-5012-19CE-3400-0E10B725B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609720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4" name="Text Placeholder Logo">
            <a:extLst>
              <a:ext uri="{FF2B5EF4-FFF2-40B4-BE49-F238E27FC236}">
                <a16:creationId xmlns:a16="http://schemas.microsoft.com/office/drawing/2014/main" id="{06D67678-0A0F-17A5-BE38-65307CC28F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8487" y="5957134"/>
            <a:ext cx="1242000" cy="540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4629600" cy="831600"/>
          </a:xfrm>
        </p:spPr>
        <p:txBody>
          <a:bodyPr vert="horz"/>
          <a:lstStyle>
            <a:lvl1pPr rtl="0">
              <a:defRPr b="0">
                <a:solidFill>
                  <a:srgbClr val="FFEBA9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979887F-413C-20EA-71A4-BBBDB47424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137" y="1547813"/>
            <a:ext cx="4629151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3pPr>
            <a:lvl4pPr rtl="0">
              <a:defRPr>
                <a:solidFill>
                  <a:srgbClr val="FFEBA9"/>
                </a:solidFill>
              </a:defRPr>
            </a:lvl4pPr>
            <a:lvl5pPr rtl="0">
              <a:defRPr>
                <a:solidFill>
                  <a:srgbClr val="FFEBA9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6pPr>
            <a:lvl7pPr rtl="0">
              <a:defRPr>
                <a:solidFill>
                  <a:srgbClr val="FFEBA9"/>
                </a:solidFill>
              </a:defRPr>
            </a:lvl7pPr>
            <a:lvl8pPr rtl="0">
              <a:defRPr>
                <a:solidFill>
                  <a:srgbClr val="FFEBA9"/>
                </a:solidFill>
              </a:defRPr>
            </a:lvl8pPr>
            <a:lvl9pPr rtl="0">
              <a:defRPr>
                <a:solidFill>
                  <a:srgbClr val="FFEBA9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1248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lede og indholdsobjekt 1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F643245-A859-69AF-1632-45761E00B2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44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43245-A859-69AF-1632-45761E00B2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7A71A6C4-641E-B31C-9C45-64C345A1E0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1363" y="360000"/>
            <a:ext cx="4618800" cy="831600"/>
          </a:xfrm>
        </p:spPr>
        <p:txBody>
          <a:bodyPr vert="horz"/>
          <a:lstStyle>
            <a:lvl1pPr rtl="0">
              <a:defRPr b="0">
                <a:solidFill>
                  <a:srgbClr val="6FC2B6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5FFE6E7-2435-BC63-E72C-454D677C4B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0538" y="1547813"/>
            <a:ext cx="4619625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3pPr>
            <a:lvl4pPr rtl="0">
              <a:defRPr>
                <a:solidFill>
                  <a:srgbClr val="6FC2B6"/>
                </a:solidFill>
              </a:defRPr>
            </a:lvl4pPr>
            <a:lvl5pPr rtl="0">
              <a:defRPr>
                <a:solidFill>
                  <a:srgbClr val="6FC2B6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6FC2B6"/>
                </a:solidFill>
              </a:defRPr>
            </a:lvl6pPr>
            <a:lvl7pPr rtl="0">
              <a:defRPr>
                <a:solidFill>
                  <a:srgbClr val="6FC2B6"/>
                </a:solidFill>
              </a:defRPr>
            </a:lvl7pPr>
            <a:lvl8pPr rtl="0">
              <a:defRPr>
                <a:solidFill>
                  <a:srgbClr val="6FC2B6"/>
                </a:solidFill>
              </a:defRPr>
            </a:lvl8pPr>
            <a:lvl9pPr rtl="0">
              <a:defRPr>
                <a:solidFill>
                  <a:srgbClr val="6FC2B6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92501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lede og indholdsobjekt 2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B00B79F-69B4-F32B-9C46-64C988CD5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459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0B79F-69B4-F32B-9C46-64C988CD5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5932156-026C-6893-37D2-E5F55C57F0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2" y="5958000"/>
            <a:ext cx="1246904" cy="539998"/>
          </a:xfrm>
          <a:prstGeom prst="rect">
            <a:avLst/>
          </a:prstGeom>
        </p:spPr>
      </p:pic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1363" y="360000"/>
            <a:ext cx="4618800" cy="831600"/>
          </a:xfrm>
        </p:spPr>
        <p:txBody>
          <a:bodyPr vert="horz"/>
          <a:lstStyle>
            <a:lvl1pPr rtl="0">
              <a:defRPr b="0">
                <a:solidFill>
                  <a:srgbClr val="B5C7DE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5FFE6E7-2435-BC63-E72C-454D677C4B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0538" y="1547813"/>
            <a:ext cx="4619625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3pPr>
            <a:lvl4pPr rtl="0">
              <a:defRPr>
                <a:solidFill>
                  <a:srgbClr val="B5C7DE"/>
                </a:solidFill>
              </a:defRPr>
            </a:lvl4pPr>
            <a:lvl5pPr rtl="0">
              <a:defRPr>
                <a:solidFill>
                  <a:srgbClr val="B5C7DE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B5C7DE"/>
                </a:solidFill>
              </a:defRPr>
            </a:lvl6pPr>
            <a:lvl7pPr rtl="0">
              <a:defRPr>
                <a:solidFill>
                  <a:srgbClr val="B5C7DE"/>
                </a:solidFill>
              </a:defRPr>
            </a:lvl7pPr>
            <a:lvl8pPr rtl="0">
              <a:defRPr>
                <a:solidFill>
                  <a:srgbClr val="B5C7DE"/>
                </a:solidFill>
              </a:defRPr>
            </a:lvl8pPr>
            <a:lvl9pPr rtl="0">
              <a:defRPr>
                <a:solidFill>
                  <a:srgbClr val="B5C7DE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1250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lede og indholdsobjekt 3">
    <p:bg>
      <p:bgPr>
        <a:solidFill>
          <a:srgbClr val="006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3BA0050-0C70-E607-FC65-75A88313AE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55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A0050-0C70-E607-FC65-75A88313AE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7CAB7870-7B2A-6E4C-42FD-E28C6813B0E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A1980DFC-B9F2-5409-B9C0-999443689A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8"/>
          </a:xfrm>
          <a:prstGeom prst="rect">
            <a:avLst/>
          </a:prstGeom>
        </p:spPr>
      </p:pic>
      <p:sp>
        <p:nvSpPr>
          <p:cNvPr id="11" name="Pictureplaceholder">
            <a:extLst>
              <a:ext uri="{FF2B5EF4-FFF2-40B4-BE49-F238E27FC236}">
                <a16:creationId xmlns:a16="http://schemas.microsoft.com/office/drawing/2014/main" id="{85605BB4-82E7-6D84-7F65-B48C84B5F8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0" y="-1"/>
            <a:ext cx="6094800" cy="6858000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tIns="864000" anchor="ctr" anchorCtr="0">
            <a:noAutofit/>
          </a:bodyPr>
          <a:lstStyle>
            <a:lvl1pPr marL="0" indent="0" algn="ctr" rtl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på ikonet for at indsætte billede fra F:\Grafik\Powerpoint-bille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1363" y="360000"/>
            <a:ext cx="4618800" cy="831600"/>
          </a:xfrm>
        </p:spPr>
        <p:txBody>
          <a:bodyPr vert="horz"/>
          <a:lstStyle>
            <a:lvl1pPr rtl="0">
              <a:defRPr b="0">
                <a:solidFill>
                  <a:srgbClr val="FFEBA9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5FFE6E7-2435-BC63-E72C-454D677C4B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0538" y="1547813"/>
            <a:ext cx="4619625" cy="4230687"/>
          </a:xfrm>
        </p:spPr>
        <p:txBody>
          <a:bodyPr/>
          <a:lstStyle>
            <a:lvl1pPr marL="252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1pPr>
            <a:lvl2pPr marL="504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2pPr>
            <a:lvl3pPr marL="756000" indent="-252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3pPr>
            <a:lvl4pPr rtl="0">
              <a:defRPr>
                <a:solidFill>
                  <a:srgbClr val="FFEBA9"/>
                </a:solidFill>
              </a:defRPr>
            </a:lvl4pPr>
            <a:lvl5pPr rtl="0">
              <a:defRPr>
                <a:solidFill>
                  <a:srgbClr val="FFEBA9"/>
                </a:solidFill>
              </a:defRPr>
            </a:lvl5pPr>
            <a:lvl6pPr marL="180000" indent="-180000" rtl="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rgbClr val="FFEBA9"/>
                </a:solidFill>
              </a:defRPr>
            </a:lvl6pPr>
            <a:lvl7pPr rtl="0">
              <a:defRPr>
                <a:solidFill>
                  <a:srgbClr val="FFEBA9"/>
                </a:solidFill>
              </a:defRPr>
            </a:lvl7pPr>
            <a:lvl8pPr rtl="0">
              <a:defRPr>
                <a:solidFill>
                  <a:srgbClr val="FFEBA9"/>
                </a:solidFill>
              </a:defRPr>
            </a:lvl8pPr>
            <a:lvl9pPr rtl="0">
              <a:defRPr>
                <a:solidFill>
                  <a:srgbClr val="FFEBA9"/>
                </a:solidFill>
              </a:defRPr>
            </a:lvl9pPr>
          </a:lstStyle>
          <a:p>
            <a:pPr lvl="0"/>
            <a:r>
              <a:rPr lang="da-DK" noProof="0"/>
              <a:t>Klik for at tilføje tekst                                                    Klik ENTER og derefter TAB for at se næste tekstformat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4D980D4-A6FE-48C4-3FB4-A170F1DD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9C598-2ADD-7AAD-BC20-214AE14F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8DCD92-64F9-6FD5-F0BC-D1B2259B4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9678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d sides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498C99-2201-71FC-CB60-64C0F5DF55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75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498C99-2201-71FC-CB60-64C0F5DF5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20A3C80-C7AE-4294-9901-742CEB7E1A75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0" y="0"/>
            <a:ext cx="12193200" cy="6861600"/>
          </a:xfrm>
          <a:solidFill>
            <a:schemeClr val="bg1">
              <a:lumMod val="85000"/>
            </a:schemeClr>
          </a:solidFill>
        </p:spPr>
        <p:txBody>
          <a:bodyPr lIns="6300000" tIns="0" anchor="ctr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Klik på ikonet for at indsætte billede</a:t>
            </a:r>
          </a:p>
          <a:p>
            <a:r>
              <a:rPr lang="da-DK" noProof="0"/>
              <a:t>fra F:\Grafik\Powerpoint-billeder</a:t>
            </a:r>
          </a:p>
        </p:txBody>
      </p:sp>
      <p:sp>
        <p:nvSpPr>
          <p:cNvPr id="5" name="Text Placeholder Logo">
            <a:extLst>
              <a:ext uri="{FF2B5EF4-FFF2-40B4-BE49-F238E27FC236}">
                <a16:creationId xmlns:a16="http://schemas.microsoft.com/office/drawing/2014/main" id="{FEED5646-7211-0D1B-DA59-03EFB6D1E6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8487" y="5957134"/>
            <a:ext cx="1242000" cy="540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AF1C9-D970-4BDE-8D21-BBA0716FE7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1200" cy="5565600"/>
          </a:xfrm>
        </p:spPr>
        <p:txBody>
          <a:bodyPr vert="horz"/>
          <a:lstStyle>
            <a:lvl1pPr rtl="0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titel. Fremhæv tekst ved at gøre den fed. 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D5779BF2-E672-D1AD-4DA5-BDD638F53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2EF2A15-D313-0CD9-EB19-9A39AEC56F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239546E-E9BB-50FF-5408-A8B7A7D47A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boks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E7ECD05-9E78-1F9B-4177-A6F9BACC44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25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7ECD05-9E78-1F9B-4177-A6F9BACC4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ckground left">
            <a:extLst>
              <a:ext uri="{FF2B5EF4-FFF2-40B4-BE49-F238E27FC236}">
                <a16:creationId xmlns:a16="http://schemas.microsoft.com/office/drawing/2014/main" id="{C49FA580-3623-5918-14C1-C5539B237FF4}"/>
              </a:ext>
            </a:extLst>
          </p:cNvPr>
          <p:cNvSpPr/>
          <p:nvPr userDrawn="1"/>
        </p:nvSpPr>
        <p:spPr bwMode="white">
          <a:xfrm>
            <a:off x="-1" y="0"/>
            <a:ext cx="6096001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Background right">
            <a:extLst>
              <a:ext uri="{FF2B5EF4-FFF2-40B4-BE49-F238E27FC236}">
                <a16:creationId xmlns:a16="http://schemas.microsoft.com/office/drawing/2014/main" id="{C811CEEF-AACC-44B6-BACB-BB91686526B7}"/>
              </a:ext>
            </a:extLst>
          </p:cNvPr>
          <p:cNvSpPr/>
          <p:nvPr userDrawn="1"/>
        </p:nvSpPr>
        <p:spPr bwMode="white">
          <a:xfrm>
            <a:off x="6096000" y="0"/>
            <a:ext cx="6096000" cy="6858000"/>
          </a:xfrm>
          <a:prstGeom prst="rect">
            <a:avLst/>
          </a:pr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3500FD4A-DCBC-08AA-1BBA-F49ADC99BD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C9135B0-F88D-2389-A645-CDE330D160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D14430-97A4-3F94-E2C0-F71F7D379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84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5EB77DB-1113-43CC-9494-E63E9FE97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E9E40-D75F-4816-8D37-FA4F873E3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1248A5-AC23-44C1-8CCF-3D4E6CA49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5200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boks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1D15A69-6A4A-87FE-4C3D-1B02952B4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022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D15A69-6A4A-87FE-4C3D-1B02952B4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ckground left">
            <a:extLst>
              <a:ext uri="{FF2B5EF4-FFF2-40B4-BE49-F238E27FC236}">
                <a16:creationId xmlns:a16="http://schemas.microsoft.com/office/drawing/2014/main" id="{C49FA580-3623-5918-14C1-C5539B237FF4}"/>
              </a:ext>
            </a:extLst>
          </p:cNvPr>
          <p:cNvSpPr/>
          <p:nvPr userDrawn="1"/>
        </p:nvSpPr>
        <p:spPr bwMode="white">
          <a:xfrm>
            <a:off x="-1" y="0"/>
            <a:ext cx="6096001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Background right">
            <a:extLst>
              <a:ext uri="{FF2B5EF4-FFF2-40B4-BE49-F238E27FC236}">
                <a16:creationId xmlns:a16="http://schemas.microsoft.com/office/drawing/2014/main" id="{C811CEEF-AACC-44B6-BACB-BB91686526B7}"/>
              </a:ext>
            </a:extLst>
          </p:cNvPr>
          <p:cNvSpPr/>
          <p:nvPr userDrawn="1"/>
        </p:nvSpPr>
        <p:spPr bwMode="white">
          <a:xfrm>
            <a:off x="6096000" y="0"/>
            <a:ext cx="60960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19CE0ECD-60C0-EFD9-5427-ED268C0E9EB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2" y="5958000"/>
            <a:ext cx="1246904" cy="539998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C9135B0-F88D-2389-A645-CDE330D160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246C99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D14430-97A4-3F94-E2C0-F71F7D379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84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B5C7DE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5EB77DB-1113-43CC-9494-E63E9FE97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E9E40-D75F-4816-8D37-FA4F873E3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1248A5-AC23-44C1-8CCF-3D4E6CA49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9109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boks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DDEB09-E3D4-A23C-499A-DB3555649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45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DDEB09-E3D4-A23C-499A-DB3555649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ckground left">
            <a:extLst>
              <a:ext uri="{FF2B5EF4-FFF2-40B4-BE49-F238E27FC236}">
                <a16:creationId xmlns:a16="http://schemas.microsoft.com/office/drawing/2014/main" id="{C49FA580-3623-5918-14C1-C5539B237FF4}"/>
              </a:ext>
            </a:extLst>
          </p:cNvPr>
          <p:cNvSpPr/>
          <p:nvPr userDrawn="1"/>
        </p:nvSpPr>
        <p:spPr bwMode="white">
          <a:xfrm>
            <a:off x="-1" y="0"/>
            <a:ext cx="6096001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Background right">
            <a:extLst>
              <a:ext uri="{FF2B5EF4-FFF2-40B4-BE49-F238E27FC236}">
                <a16:creationId xmlns:a16="http://schemas.microsoft.com/office/drawing/2014/main" id="{C811CEEF-AACC-44B6-BACB-BB91686526B7}"/>
              </a:ext>
            </a:extLst>
          </p:cNvPr>
          <p:cNvSpPr/>
          <p:nvPr userDrawn="1"/>
        </p:nvSpPr>
        <p:spPr bwMode="white">
          <a:xfrm>
            <a:off x="6096000" y="0"/>
            <a:ext cx="6096000" cy="6858000"/>
          </a:xfrm>
          <a:prstGeom prst="rect">
            <a:avLst/>
          </a:pr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25AC10D9-95DB-BFBE-648C-42F1EBB1E8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8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C9135B0-F88D-2389-A645-CDE330D160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FFA039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307675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D14430-97A4-3F94-E2C0-F71F7D379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8400" y="360000"/>
            <a:ext cx="4651200" cy="5432400"/>
          </a:xfrm>
        </p:spPr>
        <p:txBody>
          <a:bodyPr lIns="360000" rIns="360000"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FFEBA9"/>
                </a:solidFill>
              </a:defRPr>
            </a:lvl1pPr>
            <a:lvl2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2pPr>
            <a:lvl3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rgbClr val="6FC2B6"/>
                </a:solidFill>
              </a:defRPr>
            </a:lvl3pPr>
            <a:lvl4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4pPr>
            <a:lvl5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5pPr>
            <a:lvl6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6pPr>
            <a:lvl7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7pPr>
            <a:lvl8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8pPr>
            <a:lvl9pPr marL="0" indent="0" algn="ctr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1">
                <a:solidFill>
                  <a:srgbClr val="6FC2B6"/>
                </a:solidFill>
              </a:defRPr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5EB77DB-1113-43CC-9494-E63E9FE97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E9E40-D75F-4816-8D37-FA4F873E3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1248A5-AC23-44C1-8CCF-3D4E6CA49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1637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undertitel 1">
    <p:bg>
      <p:bgPr>
        <a:solidFill>
          <a:srgbClr val="3076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5BD0AF2-22A1-4360-2459-7A0008957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72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BD0AF2-22A1-4360-2459-7A0008957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99FAD4D5-7412-735D-A46F-099026F4B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60000"/>
            <a:ext cx="10749600" cy="2534400"/>
          </a:xfrm>
        </p:spPr>
        <p:txBody>
          <a:bodyPr vert="horz" lIns="180000" rIns="180000" anchor="b" anchorCtr="0"/>
          <a:lstStyle>
            <a:lvl1pPr algn="ctr" rtl="0">
              <a:defRPr sz="9600">
                <a:solidFill>
                  <a:srgbClr val="6FC2B6"/>
                </a:solidFill>
              </a:defRPr>
            </a:lvl1pPr>
          </a:lstStyle>
          <a:p>
            <a:r>
              <a:rPr lang="da-DK"/>
              <a:t>Tilføj tit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2DD436-2241-4078-ABC9-4918A3636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250800"/>
            <a:ext cx="10749600" cy="2527200"/>
          </a:xfrm>
        </p:spPr>
        <p:txBody>
          <a:bodyPr lIns="180000" tIns="360000" rIns="180000" anchor="t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1pPr>
            <a:lvl2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2pPr>
            <a:lvl3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3pPr>
            <a:lvl4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4pPr>
            <a:lvl5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5pPr>
            <a:lvl6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6pPr>
            <a:lvl7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7pPr>
            <a:lvl8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8pPr>
            <a:lvl9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9pPr>
          </a:lstStyle>
          <a:p>
            <a:r>
              <a:rPr lang="da-DK"/>
              <a:t>Klik for at tilføje under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957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undertitel 2">
    <p:bg>
      <p:bgPr>
        <a:solidFill>
          <a:srgbClr val="246C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8F3820B-26B2-1075-7770-43F38E58E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0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3820B-26B2-1075-7770-43F38E58E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99FAD4D5-7412-735D-A46F-099026F4B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60000"/>
            <a:ext cx="10749600" cy="2534400"/>
          </a:xfrm>
        </p:spPr>
        <p:txBody>
          <a:bodyPr vert="horz" lIns="180000" rIns="180000" anchor="b" anchorCtr="0"/>
          <a:lstStyle>
            <a:lvl1pPr algn="ctr" rtl="0">
              <a:defRPr sz="9600">
                <a:solidFill>
                  <a:srgbClr val="B5C7DE"/>
                </a:solidFill>
              </a:defRPr>
            </a:lvl1pPr>
          </a:lstStyle>
          <a:p>
            <a:r>
              <a:rPr lang="da-DK"/>
              <a:t>Tilføj tit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2DD436-2241-4078-ABC9-4918A3636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250800"/>
            <a:ext cx="10749600" cy="2527200"/>
          </a:xfrm>
        </p:spPr>
        <p:txBody>
          <a:bodyPr lIns="180000" tIns="360000" rIns="180000" bIns="0" anchor="t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>
                <a:solidFill>
                  <a:srgbClr val="B5C7DE"/>
                </a:solidFill>
              </a:defRPr>
            </a:lvl1pPr>
            <a:lvl2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2pPr>
            <a:lvl3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3pPr>
            <a:lvl4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4pPr>
            <a:lvl5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5pPr>
            <a:lvl6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6pPr>
            <a:lvl7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7pPr>
            <a:lvl8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8pPr>
            <a:lvl9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9pPr>
          </a:lstStyle>
          <a:p>
            <a:r>
              <a:rPr lang="da-DK"/>
              <a:t>Klik for at tilføje under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40232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og bille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F57E1A-6204-81D4-5E78-1D5B06C67F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31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F57E1A-6204-81D4-5E78-1D5B06C67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 hidden="1">
            <a:extLst>
              <a:ext uri="{FF2B5EF4-FFF2-40B4-BE49-F238E27FC236}">
                <a16:creationId xmlns:a16="http://schemas.microsoft.com/office/drawing/2014/main" id="{44F5BB7B-A56C-FF4C-5E7D-8595307DB9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7A38070D-BE7B-DB42-4133-B218FF7271ED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7" name="Billedepladsholder">
            <a:extLst>
              <a:ext uri="{FF2B5EF4-FFF2-40B4-BE49-F238E27FC236}">
                <a16:creationId xmlns:a16="http://schemas.microsoft.com/office/drawing/2014/main" id="{D19DED2D-CB98-2D06-ED46-5564F92D76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7847702 w 12193200"/>
              <a:gd name="connsiteY1" fmla="*/ 0 h 6861600"/>
              <a:gd name="connsiteX2" fmla="*/ 7773894 w 12193200"/>
              <a:gd name="connsiteY2" fmla="*/ 205219 h 6861600"/>
              <a:gd name="connsiteX3" fmla="*/ 7667636 w 12193200"/>
              <a:gd name="connsiteY3" fmla="*/ 864184 h 6861600"/>
              <a:gd name="connsiteX4" fmla="*/ 7663991 w 12193200"/>
              <a:gd name="connsiteY4" fmla="*/ 1045692 h 6861600"/>
              <a:gd name="connsiteX5" fmla="*/ 8350737 w 12193200"/>
              <a:gd name="connsiteY5" fmla="*/ 1045692 h 6861600"/>
              <a:gd name="connsiteX6" fmla="*/ 8355314 w 12193200"/>
              <a:gd name="connsiteY6" fmla="*/ 872406 h 6861600"/>
              <a:gd name="connsiteX7" fmla="*/ 8510839 w 12193200"/>
              <a:gd name="connsiteY7" fmla="*/ 199108 h 6861600"/>
              <a:gd name="connsiteX8" fmla="*/ 8618103 w 12193200"/>
              <a:gd name="connsiteY8" fmla="*/ 0 h 6861600"/>
              <a:gd name="connsiteX9" fmla="*/ 12193200 w 12193200"/>
              <a:gd name="connsiteY9" fmla="*/ 0 h 6861600"/>
              <a:gd name="connsiteX10" fmla="*/ 12193200 w 12193200"/>
              <a:gd name="connsiteY10" fmla="*/ 385347 h 6861600"/>
              <a:gd name="connsiteX11" fmla="*/ 10356263 w 12193200"/>
              <a:gd name="connsiteY11" fmla="*/ 385347 h 6861600"/>
              <a:gd name="connsiteX12" fmla="*/ 10356263 w 12193200"/>
              <a:gd name="connsiteY12" fmla="*/ 1052938 h 6861600"/>
              <a:gd name="connsiteX13" fmla="*/ 11875707 w 12193200"/>
              <a:gd name="connsiteY13" fmla="*/ 1052938 h 6861600"/>
              <a:gd name="connsiteX14" fmla="*/ 11874774 w 12193200"/>
              <a:gd name="connsiteY14" fmla="*/ 1104936 h 6861600"/>
              <a:gd name="connsiteX15" fmla="*/ 10135555 w 12193200"/>
              <a:gd name="connsiteY15" fmla="*/ 2803133 h 6861600"/>
              <a:gd name="connsiteX16" fmla="*/ 10048891 w 12193200"/>
              <a:gd name="connsiteY16" fmla="*/ 2801311 h 6861600"/>
              <a:gd name="connsiteX17" fmla="*/ 10048891 w 12193200"/>
              <a:gd name="connsiteY17" fmla="*/ 3489879 h 6861600"/>
              <a:gd name="connsiteX18" fmla="*/ 10135555 w 12193200"/>
              <a:gd name="connsiteY18" fmla="*/ 3490769 h 6861600"/>
              <a:gd name="connsiteX19" fmla="*/ 12018386 w 12193200"/>
              <a:gd name="connsiteY19" fmla="*/ 2587286 h 6861600"/>
              <a:gd name="connsiteX20" fmla="*/ 12193200 w 12193200"/>
              <a:gd name="connsiteY20" fmla="*/ 2342909 h 6861600"/>
              <a:gd name="connsiteX21" fmla="*/ 12193200 w 12193200"/>
              <a:gd name="connsiteY21" fmla="*/ 6861600 h 6861600"/>
              <a:gd name="connsiteX22" fmla="*/ 0 w 12193200"/>
              <a:gd name="connsiteY22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7847702" y="0"/>
                </a:lnTo>
                <a:lnTo>
                  <a:pt x="7773894" y="205219"/>
                </a:lnTo>
                <a:cubicBezTo>
                  <a:pt x="7709177" y="414528"/>
                  <a:pt x="7672244" y="635625"/>
                  <a:pt x="7667636" y="864184"/>
                </a:cubicBezTo>
                <a:lnTo>
                  <a:pt x="7663991" y="1045692"/>
                </a:lnTo>
                <a:lnTo>
                  <a:pt x="8350737" y="1045692"/>
                </a:lnTo>
                <a:lnTo>
                  <a:pt x="8355314" y="872406"/>
                </a:lnTo>
                <a:cubicBezTo>
                  <a:pt x="8361130" y="633295"/>
                  <a:pt x="8416315" y="405626"/>
                  <a:pt x="8510839" y="199108"/>
                </a:cubicBezTo>
                <a:lnTo>
                  <a:pt x="8618103" y="0"/>
                </a:lnTo>
                <a:lnTo>
                  <a:pt x="12193200" y="0"/>
                </a:lnTo>
                <a:lnTo>
                  <a:pt x="12193200" y="385347"/>
                </a:lnTo>
                <a:lnTo>
                  <a:pt x="10356263" y="385347"/>
                </a:lnTo>
                <a:lnTo>
                  <a:pt x="10356263" y="1052938"/>
                </a:lnTo>
                <a:lnTo>
                  <a:pt x="11875707" y="1052938"/>
                </a:lnTo>
                <a:lnTo>
                  <a:pt x="11874774" y="1104936"/>
                </a:lnTo>
                <a:cubicBezTo>
                  <a:pt x="11851975" y="2041589"/>
                  <a:pt x="11071276" y="2803133"/>
                  <a:pt x="10135555" y="2803133"/>
                </a:cubicBezTo>
                <a:lnTo>
                  <a:pt x="10048891" y="2801311"/>
                </a:lnTo>
                <a:lnTo>
                  <a:pt x="10048891" y="3489879"/>
                </a:lnTo>
                <a:lnTo>
                  <a:pt x="10135555" y="3490769"/>
                </a:lnTo>
                <a:cubicBezTo>
                  <a:pt x="10890048" y="3490769"/>
                  <a:pt x="11571051" y="3137398"/>
                  <a:pt x="12018386" y="2587286"/>
                </a:cubicBezTo>
                <a:lnTo>
                  <a:pt x="12193200" y="2342909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" tIns="0" rIns="72000" bIns="72000" anchor="b" anchorCtr="0"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1400"/>
            </a:lvl1pPr>
          </a:lstStyle>
          <a:p>
            <a:r>
              <a:rPr lang="da-DK"/>
              <a:t>Klik på rammen og indsæt et billede, via fanen ”Indsæt” vælg ”Billede” fra F:\Grafik\Powerpoint-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Placeholder Logo">
            <a:extLst>
              <a:ext uri="{FF2B5EF4-FFF2-40B4-BE49-F238E27FC236}">
                <a16:creationId xmlns:a16="http://schemas.microsoft.com/office/drawing/2014/main" id="{74EBD4DD-6234-150D-98C7-D643E3FDD1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2800" y="5774400"/>
            <a:ext cx="1670400" cy="72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30651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undertitel 3">
    <p:bg>
      <p:bgPr>
        <a:solidFill>
          <a:srgbClr val="FF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01D6F75-9F7A-B8D5-FB59-CA9C8D9B6B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78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1D6F75-9F7A-B8D5-FB59-CA9C8D9B6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99FAD4D5-7412-735D-A46F-099026F4B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2" y="5958000"/>
            <a:ext cx="1246904" cy="539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360000"/>
            <a:ext cx="10749600" cy="2534400"/>
          </a:xfrm>
        </p:spPr>
        <p:txBody>
          <a:bodyPr vert="horz" lIns="180000" rIns="180000" anchor="b" anchorCtr="0"/>
          <a:lstStyle>
            <a:lvl1pPr algn="ctr" rtl="0">
              <a:defRPr sz="9600">
                <a:solidFill>
                  <a:srgbClr val="FFEBA9"/>
                </a:solidFill>
              </a:defRPr>
            </a:lvl1pPr>
          </a:lstStyle>
          <a:p>
            <a:r>
              <a:rPr lang="da-DK"/>
              <a:t>Tilføj tit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2DD436-2241-4078-ABC9-4918A3636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250800"/>
            <a:ext cx="10749600" cy="2527200"/>
          </a:xfrm>
        </p:spPr>
        <p:txBody>
          <a:bodyPr lIns="180000" tIns="360000" rIns="180000" anchor="t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>
                <a:solidFill>
                  <a:srgbClr val="FFEBA9"/>
                </a:solidFill>
              </a:defRPr>
            </a:lvl1pPr>
            <a:lvl2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2pPr>
            <a:lvl3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3pPr>
            <a:lvl4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4pPr>
            <a:lvl5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5pPr>
            <a:lvl6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6pPr>
            <a:lvl7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7pPr>
            <a:lvl8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8pPr>
            <a:lvl9pPr marL="0" indent="0" algn="ctr">
              <a:spcAft>
                <a:spcPts val="600"/>
              </a:spcAft>
              <a:buFont typeface="Arial" panose="020B0604020202020204" pitchFamily="34" charset="0"/>
              <a:buNone/>
              <a:defRPr sz="4000" b="1">
                <a:solidFill>
                  <a:srgbClr val="6FC2B6"/>
                </a:solidFill>
              </a:defRPr>
            </a:lvl9pPr>
          </a:lstStyle>
          <a:p>
            <a:r>
              <a:rPr lang="da-DK"/>
              <a:t>Klik for at tilføje underti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930953-A01D-CB1F-3D0B-453A180B0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54B4C7-1E5B-C40C-9EE1-21059798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5CBF8D-E55B-2A3D-ED08-040C5977B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9249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 1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586B0F-AFAE-ABEC-207B-1A2239C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72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586B0F-AFAE-ABEC-207B-1A2239C0C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CCDA797-4562-AFF4-91DB-F0C868EB30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A2B0B5-8599-26F7-FB5B-3F03319CFA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307675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307675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 noProof="0"/>
              <a:t>Tilføj tekst 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D91700F-16E3-DA64-CC34-FC543DFDDF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44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307675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307675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94D6CAE-E654-0FBA-2FB2-F6266C5879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88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307675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307675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307675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0271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 2">
    <p:bg>
      <p:bgPr>
        <a:solidFill>
          <a:srgbClr val="B5C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A70CBB-5A89-F2E5-D8DA-63D859CE1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36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70CBB-5A89-F2E5-D8DA-63D859CE1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CCDA797-4562-AFF4-91DB-F0C868EB30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A2B0B5-8599-26F7-FB5B-3F03319CFA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246C9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246C9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D91700F-16E3-DA64-CC34-FC543DFDDF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44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246C9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246C9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94D6CAE-E654-0FBA-2FB2-F6266C5879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88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246C9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246C9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246C9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54209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 3">
    <p:bg>
      <p:bgPr>
        <a:solidFill>
          <a:srgbClr val="B5C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85A4C0-08F5-8FD9-20CB-D962C2A94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109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85A4C0-08F5-8FD9-20CB-D962C2A94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C14F60F3-AD9E-C60D-9C84-0D88899B475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CCDA797-4562-AFF4-91DB-F0C868EB30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A2B0B5-8599-26F7-FB5B-3F03319CFA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FFA03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FFA03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D91700F-16E3-DA64-CC34-FC543DFDDF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44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FFA03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FFA03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94D6CAE-E654-0FBA-2FB2-F6266C5879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8800" y="360000"/>
            <a:ext cx="3344400" cy="5432400"/>
          </a:xfrm>
        </p:spPr>
        <p:txBody>
          <a:bodyPr anchor="ctr" anchorCtr="0"/>
          <a:lstStyle>
            <a:lvl1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FFA039"/>
                </a:solidFill>
              </a:defRPr>
            </a:lvl1pPr>
            <a:lvl2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2pPr>
            <a:lvl3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rgbClr val="FFA039"/>
                </a:solidFill>
              </a:defRPr>
            </a:lvl3pPr>
            <a:lvl4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4pPr>
            <a:lvl5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5pPr>
            <a:lvl6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6pPr>
            <a:lvl7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7pPr>
            <a:lvl8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8pPr>
            <a:lvl9pPr marL="0" indent="0" algn="ctr" rtl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rgbClr val="FFA039"/>
                </a:solidFill>
              </a:defRPr>
            </a:lvl9pPr>
          </a:lstStyle>
          <a:p>
            <a:pPr lvl="0"/>
            <a:r>
              <a:rPr lang="da-DK" noProof="0"/>
              <a:t>Tilføj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3</a:t>
            </a:r>
          </a:p>
          <a:p>
            <a:pPr lvl="3"/>
            <a:r>
              <a:rPr lang="da-DK" noProof="0"/>
              <a:t>4</a:t>
            </a:r>
          </a:p>
          <a:p>
            <a:pPr lvl="4"/>
            <a:r>
              <a:rPr lang="da-DK" noProof="0"/>
              <a:t>5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3786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1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E4D73B3-8A48-5EBD-984F-674EF2E64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74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D73B3-8A48-5EBD-984F-674EF2E64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77AAD6C7-CF3C-C599-4A1D-CC5A14F69833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Citat tegn">
            <a:extLst>
              <a:ext uri="{FF2B5EF4-FFF2-40B4-BE49-F238E27FC236}">
                <a16:creationId xmlns:a16="http://schemas.microsoft.com/office/drawing/2014/main" id="{0974C69F-67E5-AA0E-A6BF-28E432186703}"/>
              </a:ext>
            </a:extLst>
          </p:cNvPr>
          <p:cNvSpPr/>
          <p:nvPr userDrawn="1"/>
        </p:nvSpPr>
        <p:spPr>
          <a:xfrm>
            <a:off x="10222894" y="361950"/>
            <a:ext cx="1246794" cy="988135"/>
          </a:xfrm>
          <a:custGeom>
            <a:avLst/>
            <a:gdLst/>
            <a:ahLst/>
            <a:cxnLst/>
            <a:rect l="l" t="t" r="r" b="b"/>
            <a:pathLst>
              <a:path w="1082850" h="858203">
                <a:moveTo>
                  <a:pt x="810244" y="0"/>
                </a:moveTo>
                <a:lnTo>
                  <a:pt x="1060133" y="0"/>
                </a:lnTo>
                <a:lnTo>
                  <a:pt x="949071" y="401336"/>
                </a:lnTo>
                <a:cubicBezTo>
                  <a:pt x="991140" y="419846"/>
                  <a:pt x="1023954" y="447612"/>
                  <a:pt x="1047512" y="484632"/>
                </a:cubicBezTo>
                <a:cubicBezTo>
                  <a:pt x="1071071" y="521653"/>
                  <a:pt x="1082850" y="565404"/>
                  <a:pt x="1082850" y="615887"/>
                </a:cubicBezTo>
                <a:cubicBezTo>
                  <a:pt x="1082850" y="688245"/>
                  <a:pt x="1060133" y="746721"/>
                  <a:pt x="1014699" y="791314"/>
                </a:cubicBezTo>
                <a:cubicBezTo>
                  <a:pt x="969264" y="835906"/>
                  <a:pt x="911209" y="858203"/>
                  <a:pt x="840534" y="858203"/>
                </a:cubicBezTo>
                <a:cubicBezTo>
                  <a:pt x="769858" y="858203"/>
                  <a:pt x="711383" y="835486"/>
                  <a:pt x="665107" y="790051"/>
                </a:cubicBezTo>
                <a:cubicBezTo>
                  <a:pt x="618832" y="744617"/>
                  <a:pt x="595694" y="686562"/>
                  <a:pt x="595694" y="615887"/>
                </a:cubicBezTo>
                <a:cubicBezTo>
                  <a:pt x="595694" y="582232"/>
                  <a:pt x="599901" y="548577"/>
                  <a:pt x="608314" y="514922"/>
                </a:cubicBezTo>
                <a:cubicBezTo>
                  <a:pt x="616728" y="481267"/>
                  <a:pt x="635238" y="430784"/>
                  <a:pt x="663845" y="363474"/>
                </a:cubicBezTo>
                <a:close/>
                <a:moveTo>
                  <a:pt x="214551" y="0"/>
                </a:moveTo>
                <a:lnTo>
                  <a:pt x="464439" y="0"/>
                </a:lnTo>
                <a:lnTo>
                  <a:pt x="353378" y="401336"/>
                </a:lnTo>
                <a:cubicBezTo>
                  <a:pt x="395447" y="419846"/>
                  <a:pt x="428260" y="447612"/>
                  <a:pt x="451819" y="484632"/>
                </a:cubicBezTo>
                <a:cubicBezTo>
                  <a:pt x="475377" y="521653"/>
                  <a:pt x="487156" y="565404"/>
                  <a:pt x="487156" y="615887"/>
                </a:cubicBezTo>
                <a:cubicBezTo>
                  <a:pt x="487156" y="688245"/>
                  <a:pt x="464439" y="746721"/>
                  <a:pt x="419005" y="791314"/>
                </a:cubicBezTo>
                <a:cubicBezTo>
                  <a:pt x="373571" y="835906"/>
                  <a:pt x="315516" y="858203"/>
                  <a:pt x="244840" y="858203"/>
                </a:cubicBezTo>
                <a:cubicBezTo>
                  <a:pt x="174165" y="858203"/>
                  <a:pt x="115689" y="835486"/>
                  <a:pt x="69414" y="790051"/>
                </a:cubicBezTo>
                <a:cubicBezTo>
                  <a:pt x="23138" y="744617"/>
                  <a:pt x="0" y="686562"/>
                  <a:pt x="0" y="615887"/>
                </a:cubicBezTo>
                <a:cubicBezTo>
                  <a:pt x="0" y="582232"/>
                  <a:pt x="4207" y="548577"/>
                  <a:pt x="12621" y="514922"/>
                </a:cubicBezTo>
                <a:cubicBezTo>
                  <a:pt x="21035" y="481267"/>
                  <a:pt x="39545" y="430784"/>
                  <a:pt x="68152" y="363474"/>
                </a:cubicBezTo>
                <a:close/>
              </a:path>
            </a:pathLst>
          </a:cu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da-DK" sz="2000">
              <a:solidFill>
                <a:schemeClr val="accent4"/>
              </a:solidFill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1749942F-B223-B02F-0B90-548AF9A774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7974000" cy="2610000"/>
          </a:xfrm>
        </p:spPr>
        <p:txBody>
          <a:bodyPr/>
          <a:lstStyle>
            <a:lvl1pPr marL="0" indent="0" rtl="0">
              <a:lnSpc>
                <a:spcPct val="87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307675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rgbClr val="307675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9pPr>
          </a:lstStyle>
          <a:p>
            <a:pPr lvl="0"/>
            <a:r>
              <a:rPr lang="da-DK"/>
              <a:t>Klik for at tilføje cita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B3E72D0-2825-EAEA-AE76-CF1E7F6DB6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4377600"/>
            <a:ext cx="7974000" cy="1400400"/>
          </a:xfrm>
        </p:spPr>
        <p:txBody>
          <a:bodyPr anchor="t" anchorCtr="0"/>
          <a:lstStyle>
            <a:lvl1pPr marL="0" indent="0" algn="l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rgbClr val="307675"/>
                </a:solidFill>
              </a:defRPr>
            </a:lvl1pPr>
            <a:lvl2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dirty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Klik for at tilføje navn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1413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2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B903C8-12FF-683A-C64B-440F4D1673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64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B903C8-12FF-683A-C64B-440F4D167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77AAD6C7-CF3C-C599-4A1D-CC5A14F69833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Citat tegn">
            <a:extLst>
              <a:ext uri="{FF2B5EF4-FFF2-40B4-BE49-F238E27FC236}">
                <a16:creationId xmlns:a16="http://schemas.microsoft.com/office/drawing/2014/main" id="{0974C69F-67E5-AA0E-A6BF-28E432186703}"/>
              </a:ext>
            </a:extLst>
          </p:cNvPr>
          <p:cNvSpPr/>
          <p:nvPr userDrawn="1"/>
        </p:nvSpPr>
        <p:spPr>
          <a:xfrm>
            <a:off x="10222894" y="361950"/>
            <a:ext cx="1246794" cy="988135"/>
          </a:xfrm>
          <a:custGeom>
            <a:avLst/>
            <a:gdLst/>
            <a:ahLst/>
            <a:cxnLst/>
            <a:rect l="l" t="t" r="r" b="b"/>
            <a:pathLst>
              <a:path w="1082850" h="858203">
                <a:moveTo>
                  <a:pt x="810244" y="0"/>
                </a:moveTo>
                <a:lnTo>
                  <a:pt x="1060133" y="0"/>
                </a:lnTo>
                <a:lnTo>
                  <a:pt x="949071" y="401336"/>
                </a:lnTo>
                <a:cubicBezTo>
                  <a:pt x="991140" y="419846"/>
                  <a:pt x="1023954" y="447612"/>
                  <a:pt x="1047512" y="484632"/>
                </a:cubicBezTo>
                <a:cubicBezTo>
                  <a:pt x="1071071" y="521653"/>
                  <a:pt x="1082850" y="565404"/>
                  <a:pt x="1082850" y="615887"/>
                </a:cubicBezTo>
                <a:cubicBezTo>
                  <a:pt x="1082850" y="688245"/>
                  <a:pt x="1060133" y="746721"/>
                  <a:pt x="1014699" y="791314"/>
                </a:cubicBezTo>
                <a:cubicBezTo>
                  <a:pt x="969264" y="835906"/>
                  <a:pt x="911209" y="858203"/>
                  <a:pt x="840534" y="858203"/>
                </a:cubicBezTo>
                <a:cubicBezTo>
                  <a:pt x="769858" y="858203"/>
                  <a:pt x="711383" y="835486"/>
                  <a:pt x="665107" y="790051"/>
                </a:cubicBezTo>
                <a:cubicBezTo>
                  <a:pt x="618832" y="744617"/>
                  <a:pt x="595694" y="686562"/>
                  <a:pt x="595694" y="615887"/>
                </a:cubicBezTo>
                <a:cubicBezTo>
                  <a:pt x="595694" y="582232"/>
                  <a:pt x="599901" y="548577"/>
                  <a:pt x="608314" y="514922"/>
                </a:cubicBezTo>
                <a:cubicBezTo>
                  <a:pt x="616728" y="481267"/>
                  <a:pt x="635238" y="430784"/>
                  <a:pt x="663845" y="363474"/>
                </a:cubicBezTo>
                <a:close/>
                <a:moveTo>
                  <a:pt x="214551" y="0"/>
                </a:moveTo>
                <a:lnTo>
                  <a:pt x="464439" y="0"/>
                </a:lnTo>
                <a:lnTo>
                  <a:pt x="353378" y="401336"/>
                </a:lnTo>
                <a:cubicBezTo>
                  <a:pt x="395447" y="419846"/>
                  <a:pt x="428260" y="447612"/>
                  <a:pt x="451819" y="484632"/>
                </a:cubicBezTo>
                <a:cubicBezTo>
                  <a:pt x="475377" y="521653"/>
                  <a:pt x="487156" y="565404"/>
                  <a:pt x="487156" y="615887"/>
                </a:cubicBezTo>
                <a:cubicBezTo>
                  <a:pt x="487156" y="688245"/>
                  <a:pt x="464439" y="746721"/>
                  <a:pt x="419005" y="791314"/>
                </a:cubicBezTo>
                <a:cubicBezTo>
                  <a:pt x="373571" y="835906"/>
                  <a:pt x="315516" y="858203"/>
                  <a:pt x="244840" y="858203"/>
                </a:cubicBezTo>
                <a:cubicBezTo>
                  <a:pt x="174165" y="858203"/>
                  <a:pt x="115689" y="835486"/>
                  <a:pt x="69414" y="790051"/>
                </a:cubicBezTo>
                <a:cubicBezTo>
                  <a:pt x="23138" y="744617"/>
                  <a:pt x="0" y="686562"/>
                  <a:pt x="0" y="615887"/>
                </a:cubicBezTo>
                <a:cubicBezTo>
                  <a:pt x="0" y="582232"/>
                  <a:pt x="4207" y="548577"/>
                  <a:pt x="12621" y="514922"/>
                </a:cubicBezTo>
                <a:cubicBezTo>
                  <a:pt x="21035" y="481267"/>
                  <a:pt x="39545" y="430784"/>
                  <a:pt x="68152" y="363474"/>
                </a:cubicBezTo>
                <a:close/>
              </a:path>
            </a:pathLst>
          </a:cu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da-DK" sz="2000">
              <a:solidFill>
                <a:schemeClr val="accent4"/>
              </a:solidFill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1749942F-B223-B02F-0B90-548AF9A774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7974000" cy="2610000"/>
          </a:xfrm>
        </p:spPr>
        <p:txBody>
          <a:bodyPr/>
          <a:lstStyle>
            <a:lvl1pPr marL="0" indent="0" rtl="0">
              <a:lnSpc>
                <a:spcPct val="87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246C99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rgbClr val="307675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9pPr>
          </a:lstStyle>
          <a:p>
            <a:pPr lvl="0"/>
            <a:r>
              <a:rPr lang="da-DK"/>
              <a:t>Klik for at tilføje cita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B3E72D0-2825-EAEA-AE76-CF1E7F6DB6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4377600"/>
            <a:ext cx="7974000" cy="1400400"/>
          </a:xfrm>
        </p:spPr>
        <p:txBody>
          <a:bodyPr anchor="t" anchorCtr="0"/>
          <a:lstStyle>
            <a:lvl1pPr marL="0" indent="0" algn="l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rgbClr val="246C99"/>
                </a:solidFill>
              </a:defRPr>
            </a:lvl1pPr>
            <a:lvl2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dirty="0">
                <a:solidFill>
                  <a:srgbClr val="246C99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Klik for at tilføje navn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365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3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45A9C10-C853-465E-04D3-D1A4D1561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167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5A9C10-C853-465E-04D3-D1A4D1561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77AAD6C7-CF3C-C599-4A1D-CC5A14F69833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/>
          </a:p>
        </p:txBody>
      </p:sp>
      <p:sp>
        <p:nvSpPr>
          <p:cNvPr id="4" name="Citat tegn">
            <a:extLst>
              <a:ext uri="{FF2B5EF4-FFF2-40B4-BE49-F238E27FC236}">
                <a16:creationId xmlns:a16="http://schemas.microsoft.com/office/drawing/2014/main" id="{0974C69F-67E5-AA0E-A6BF-28E432186703}"/>
              </a:ext>
            </a:extLst>
          </p:cNvPr>
          <p:cNvSpPr/>
          <p:nvPr userDrawn="1"/>
        </p:nvSpPr>
        <p:spPr>
          <a:xfrm>
            <a:off x="10222894" y="361950"/>
            <a:ext cx="1246794" cy="988135"/>
          </a:xfrm>
          <a:custGeom>
            <a:avLst/>
            <a:gdLst/>
            <a:ahLst/>
            <a:cxnLst/>
            <a:rect l="l" t="t" r="r" b="b"/>
            <a:pathLst>
              <a:path w="1082850" h="858203">
                <a:moveTo>
                  <a:pt x="810244" y="0"/>
                </a:moveTo>
                <a:lnTo>
                  <a:pt x="1060133" y="0"/>
                </a:lnTo>
                <a:lnTo>
                  <a:pt x="949071" y="401336"/>
                </a:lnTo>
                <a:cubicBezTo>
                  <a:pt x="991140" y="419846"/>
                  <a:pt x="1023954" y="447612"/>
                  <a:pt x="1047512" y="484632"/>
                </a:cubicBezTo>
                <a:cubicBezTo>
                  <a:pt x="1071071" y="521653"/>
                  <a:pt x="1082850" y="565404"/>
                  <a:pt x="1082850" y="615887"/>
                </a:cubicBezTo>
                <a:cubicBezTo>
                  <a:pt x="1082850" y="688245"/>
                  <a:pt x="1060133" y="746721"/>
                  <a:pt x="1014699" y="791314"/>
                </a:cubicBezTo>
                <a:cubicBezTo>
                  <a:pt x="969264" y="835906"/>
                  <a:pt x="911209" y="858203"/>
                  <a:pt x="840534" y="858203"/>
                </a:cubicBezTo>
                <a:cubicBezTo>
                  <a:pt x="769858" y="858203"/>
                  <a:pt x="711383" y="835486"/>
                  <a:pt x="665107" y="790051"/>
                </a:cubicBezTo>
                <a:cubicBezTo>
                  <a:pt x="618832" y="744617"/>
                  <a:pt x="595694" y="686562"/>
                  <a:pt x="595694" y="615887"/>
                </a:cubicBezTo>
                <a:cubicBezTo>
                  <a:pt x="595694" y="582232"/>
                  <a:pt x="599901" y="548577"/>
                  <a:pt x="608314" y="514922"/>
                </a:cubicBezTo>
                <a:cubicBezTo>
                  <a:pt x="616728" y="481267"/>
                  <a:pt x="635238" y="430784"/>
                  <a:pt x="663845" y="363474"/>
                </a:cubicBezTo>
                <a:close/>
                <a:moveTo>
                  <a:pt x="214551" y="0"/>
                </a:moveTo>
                <a:lnTo>
                  <a:pt x="464439" y="0"/>
                </a:lnTo>
                <a:lnTo>
                  <a:pt x="353378" y="401336"/>
                </a:lnTo>
                <a:cubicBezTo>
                  <a:pt x="395447" y="419846"/>
                  <a:pt x="428260" y="447612"/>
                  <a:pt x="451819" y="484632"/>
                </a:cubicBezTo>
                <a:cubicBezTo>
                  <a:pt x="475377" y="521653"/>
                  <a:pt x="487156" y="565404"/>
                  <a:pt x="487156" y="615887"/>
                </a:cubicBezTo>
                <a:cubicBezTo>
                  <a:pt x="487156" y="688245"/>
                  <a:pt x="464439" y="746721"/>
                  <a:pt x="419005" y="791314"/>
                </a:cubicBezTo>
                <a:cubicBezTo>
                  <a:pt x="373571" y="835906"/>
                  <a:pt x="315516" y="858203"/>
                  <a:pt x="244840" y="858203"/>
                </a:cubicBezTo>
                <a:cubicBezTo>
                  <a:pt x="174165" y="858203"/>
                  <a:pt x="115689" y="835486"/>
                  <a:pt x="69414" y="790051"/>
                </a:cubicBezTo>
                <a:cubicBezTo>
                  <a:pt x="23138" y="744617"/>
                  <a:pt x="0" y="686562"/>
                  <a:pt x="0" y="615887"/>
                </a:cubicBezTo>
                <a:cubicBezTo>
                  <a:pt x="0" y="582232"/>
                  <a:pt x="4207" y="548577"/>
                  <a:pt x="12621" y="514922"/>
                </a:cubicBezTo>
                <a:cubicBezTo>
                  <a:pt x="21035" y="481267"/>
                  <a:pt x="39545" y="430784"/>
                  <a:pt x="68152" y="363474"/>
                </a:cubicBezTo>
                <a:close/>
              </a:path>
            </a:pathLst>
          </a:cu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da-DK" sz="2000">
              <a:solidFill>
                <a:schemeClr val="accent4"/>
              </a:solidFill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1749942F-B223-B02F-0B90-548AF9A774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167BD-2E1B-4064-9794-6E83082165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360000"/>
            <a:ext cx="7974000" cy="2610000"/>
          </a:xfrm>
        </p:spPr>
        <p:txBody>
          <a:bodyPr/>
          <a:lstStyle>
            <a:lvl1pPr marL="0" indent="0" rtl="0">
              <a:lnSpc>
                <a:spcPct val="87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rgbClr val="FFA039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rgbClr val="307675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rgbClr val="307675"/>
                </a:solidFill>
                <a:latin typeface="+mn-lt"/>
              </a:defRPr>
            </a:lvl6pPr>
            <a:lvl7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2400" b="0">
                <a:solidFill>
                  <a:srgbClr val="307675"/>
                </a:solidFill>
                <a:latin typeface="+mn-lt"/>
              </a:defRPr>
            </a:lvl9pPr>
          </a:lstStyle>
          <a:p>
            <a:pPr lvl="0"/>
            <a:r>
              <a:rPr lang="da-DK"/>
              <a:t>Klik for at tilføje cita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B3E72D0-2825-EAEA-AE76-CF1E7F6DB6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4377600"/>
            <a:ext cx="7974000" cy="1400400"/>
          </a:xfrm>
        </p:spPr>
        <p:txBody>
          <a:bodyPr anchor="t" anchorCtr="0"/>
          <a:lstStyle>
            <a:lvl1pPr marL="0" indent="0" algn="l" rtl="0">
              <a:lnSpc>
                <a:spcPct val="87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rgbClr val="FFA039"/>
                </a:solidFill>
              </a:defRPr>
            </a:lvl1pPr>
            <a:lvl2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noProof="0" dirty="0" smtClean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spcAft>
                <a:spcPts val="600"/>
              </a:spcAft>
              <a:buFont typeface="Arial" panose="020B0604020202020204" pitchFamily="34" charset="0"/>
              <a:buNone/>
              <a:defRPr lang="da-DK" sz="2400" b="0" kern="1200" dirty="0">
                <a:solidFill>
                  <a:srgbClr val="FFA039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Klik for at tilføje navn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5BCC952-19AC-0209-74E9-D4A2E3B6C9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F48A24-1C7A-F549-ACFE-133BC6B5A6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7D93CA-161D-95DB-1FD3-BA440687BF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FFA03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6139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 1">
    <p:bg>
      <p:bgPr>
        <a:solidFill>
          <a:srgbClr val="3076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C228E31-C90C-7790-1665-F09390BAE3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86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28E31-C90C-7790-1665-F09390BAE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10E56259-23F3-89A4-D266-B064E61B8F12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307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7" name="Logo cut">
            <a:extLst>
              <a:ext uri="{FF2B5EF4-FFF2-40B4-BE49-F238E27FC236}">
                <a16:creationId xmlns:a16="http://schemas.microsoft.com/office/drawing/2014/main" id="{F56D5E37-A261-883F-7B76-020F34F417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3991" y="-2"/>
            <a:ext cx="4530276" cy="3492000"/>
          </a:xfrm>
          <a:prstGeom prst="rect">
            <a:avLst/>
          </a:prstGeom>
        </p:spPr>
      </p:pic>
      <p:pic>
        <p:nvPicPr>
          <p:cNvPr id="18" name="Logo">
            <a:extLst>
              <a:ext uri="{FF2B5EF4-FFF2-40B4-BE49-F238E27FC236}">
                <a16:creationId xmlns:a16="http://schemas.microsoft.com/office/drawing/2014/main" id="{3BEDE968-3549-2D15-6E62-DDD03F95FD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802800" y="5774400"/>
            <a:ext cx="1670858" cy="72359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7FDCA7A-A13F-08AC-560D-65ACF61158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526397"/>
            <a:ext cx="7059600" cy="2617103"/>
          </a:xfrm>
        </p:spPr>
        <p:txBody>
          <a:bodyPr vert="horz"/>
          <a:lstStyle>
            <a:lvl1pPr rtl="0">
              <a:defRPr sz="9600">
                <a:solidFill>
                  <a:srgbClr val="6FC2B6"/>
                </a:solidFill>
              </a:defRPr>
            </a:lvl1pPr>
          </a:lstStyle>
          <a:p>
            <a:r>
              <a:rPr lang="da-DK"/>
              <a:t>#Ta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74AE0F5-D4E7-E219-DE9A-37C727833D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4143501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600" cap="all" baseline="0">
                <a:solidFill>
                  <a:srgbClr val="6FC2B6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  <a:endParaRPr lang="da-DK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46B35DE-250C-83E5-88F4-C509B8C5E8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4473478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600" cap="all" baseline="0">
                <a:solidFill>
                  <a:srgbClr val="6FC2B6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e-mai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26DF6DB-7B61-F95B-E901-0D270D5651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4803456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600" cap="all" baseline="0">
                <a:solidFill>
                  <a:srgbClr val="6FC2B6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lefon</a:t>
            </a:r>
            <a:endParaRPr lang="da-DK" noProof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C2675DC-4821-FD81-E01E-2526D5262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B404BE6-CD79-368B-9F4C-AD5CD620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BFAEF25-37BB-3A80-E927-C94B9A0F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6FC2B6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18190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 2">
    <p:bg>
      <p:bgPr>
        <a:solidFill>
          <a:srgbClr val="246C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C35746B-FBC9-FE0A-B9C2-8CB8DE4709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8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35746B-FBC9-FE0A-B9C2-8CB8DE4709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10E56259-23F3-89A4-D266-B064E61B8F12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246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7" name="Logo cut">
            <a:extLst>
              <a:ext uri="{FF2B5EF4-FFF2-40B4-BE49-F238E27FC236}">
                <a16:creationId xmlns:a16="http://schemas.microsoft.com/office/drawing/2014/main" id="{F56D5E37-A261-883F-7B76-020F34F417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3991" y="-2"/>
            <a:ext cx="4530276" cy="3492000"/>
          </a:xfrm>
          <a:prstGeom prst="rect">
            <a:avLst/>
          </a:prstGeom>
        </p:spPr>
      </p:pic>
      <p:pic>
        <p:nvPicPr>
          <p:cNvPr id="18" name="Logo">
            <a:extLst>
              <a:ext uri="{FF2B5EF4-FFF2-40B4-BE49-F238E27FC236}">
                <a16:creationId xmlns:a16="http://schemas.microsoft.com/office/drawing/2014/main" id="{3BEDE968-3549-2D15-6E62-DDD03F95FD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802801" y="5774400"/>
            <a:ext cx="1670855" cy="72359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7FDCA7A-A13F-08AC-560D-65ACF61158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526397"/>
            <a:ext cx="7059600" cy="2617103"/>
          </a:xfrm>
        </p:spPr>
        <p:txBody>
          <a:bodyPr vert="horz"/>
          <a:lstStyle>
            <a:lvl1pPr rtl="0">
              <a:defRPr sz="9600">
                <a:solidFill>
                  <a:srgbClr val="B5C7DE"/>
                </a:solidFill>
              </a:defRPr>
            </a:lvl1pPr>
          </a:lstStyle>
          <a:p>
            <a:r>
              <a:rPr lang="da-DK"/>
              <a:t>#Ta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74AE0F5-D4E7-E219-DE9A-37C727833D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4143501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B5C7DE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  <a:endParaRPr lang="da-DK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46B35DE-250C-83E5-88F4-C509B8C5E8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4473478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B5C7DE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e-mai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26DF6DB-7B61-F95B-E901-0D270D5651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4803456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B5C7DE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lefon</a:t>
            </a:r>
            <a:endParaRPr lang="da-DK" noProof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C2675DC-4821-FD81-E01E-2526D5262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B404BE6-CD79-368B-9F4C-AD5CD620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BFAEF25-37BB-3A80-E927-C94B9A0F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B5C7DE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30420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 3">
    <p:bg>
      <p:bgPr>
        <a:solidFill>
          <a:srgbClr val="FF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CEDBDD8-BA39-B115-A346-ABEDEF731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72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DBDD8-BA39-B115-A346-ABEDEF731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10E56259-23F3-89A4-D266-B064E61B8F12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0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7" name="Logo cut">
            <a:extLst>
              <a:ext uri="{FF2B5EF4-FFF2-40B4-BE49-F238E27FC236}">
                <a16:creationId xmlns:a16="http://schemas.microsoft.com/office/drawing/2014/main" id="{F56D5E37-A261-883F-7B76-020F34F417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3991" y="-2"/>
            <a:ext cx="4530276" cy="3492000"/>
          </a:xfrm>
          <a:prstGeom prst="rect">
            <a:avLst/>
          </a:prstGeom>
        </p:spPr>
      </p:pic>
      <p:pic>
        <p:nvPicPr>
          <p:cNvPr id="18" name="Logo">
            <a:extLst>
              <a:ext uri="{FF2B5EF4-FFF2-40B4-BE49-F238E27FC236}">
                <a16:creationId xmlns:a16="http://schemas.microsoft.com/office/drawing/2014/main" id="{3BEDE968-3549-2D15-6E62-DDD03F95FD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802801" y="5774400"/>
            <a:ext cx="1670855" cy="72359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7FDCA7A-A13F-08AC-560D-65ACF61158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526398"/>
            <a:ext cx="7059600" cy="2617200"/>
          </a:xfrm>
        </p:spPr>
        <p:txBody>
          <a:bodyPr vert="horz"/>
          <a:lstStyle>
            <a:lvl1pPr rtl="0">
              <a:defRPr sz="9600">
                <a:solidFill>
                  <a:srgbClr val="FFEBA9"/>
                </a:solidFill>
              </a:defRPr>
            </a:lvl1pPr>
          </a:lstStyle>
          <a:p>
            <a:r>
              <a:rPr lang="da-DK"/>
              <a:t>#Ta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74AE0F5-D4E7-E219-DE9A-37C727833D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4143501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FFEBA9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  <a:endParaRPr lang="da-DK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46B35DE-250C-83E5-88F4-C509B8C5E8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4473478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FFEBA9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e-mai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26DF6DB-7B61-F95B-E901-0D270D5651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4803456"/>
            <a:ext cx="70596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400" cap="all" baseline="0">
                <a:solidFill>
                  <a:srgbClr val="FFEBA9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lefon</a:t>
            </a:r>
            <a:endParaRPr lang="da-DK" noProof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C2675DC-4821-FD81-E01E-2526D5262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B404BE6-CD79-368B-9F4C-AD5CD620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ABFAEF25-37BB-3A80-E927-C94B9A0F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EBA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7092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og bille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6621BD7-307E-2BBA-319A-8239F6B7F8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091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621BD7-307E-2BBA-319A-8239F6B7F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 hidden="1">
            <a:extLst>
              <a:ext uri="{FF2B5EF4-FFF2-40B4-BE49-F238E27FC236}">
                <a16:creationId xmlns:a16="http://schemas.microsoft.com/office/drawing/2014/main" id="{44F5BB7B-A56C-FF4C-5E7D-8595307DB9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7A38070D-BE7B-DB42-4133-B218FF7271ED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FFE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7" name="Billedepladsholder">
            <a:extLst>
              <a:ext uri="{FF2B5EF4-FFF2-40B4-BE49-F238E27FC236}">
                <a16:creationId xmlns:a16="http://schemas.microsoft.com/office/drawing/2014/main" id="{D19DED2D-CB98-2D06-ED46-5564F92D76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7847702 w 12193200"/>
              <a:gd name="connsiteY1" fmla="*/ 0 h 6861600"/>
              <a:gd name="connsiteX2" fmla="*/ 7773894 w 12193200"/>
              <a:gd name="connsiteY2" fmla="*/ 205219 h 6861600"/>
              <a:gd name="connsiteX3" fmla="*/ 7667636 w 12193200"/>
              <a:gd name="connsiteY3" fmla="*/ 864184 h 6861600"/>
              <a:gd name="connsiteX4" fmla="*/ 7663991 w 12193200"/>
              <a:gd name="connsiteY4" fmla="*/ 1045692 h 6861600"/>
              <a:gd name="connsiteX5" fmla="*/ 8350737 w 12193200"/>
              <a:gd name="connsiteY5" fmla="*/ 1045692 h 6861600"/>
              <a:gd name="connsiteX6" fmla="*/ 8355314 w 12193200"/>
              <a:gd name="connsiteY6" fmla="*/ 872406 h 6861600"/>
              <a:gd name="connsiteX7" fmla="*/ 8510839 w 12193200"/>
              <a:gd name="connsiteY7" fmla="*/ 199108 h 6861600"/>
              <a:gd name="connsiteX8" fmla="*/ 8618103 w 12193200"/>
              <a:gd name="connsiteY8" fmla="*/ 0 h 6861600"/>
              <a:gd name="connsiteX9" fmla="*/ 12193200 w 12193200"/>
              <a:gd name="connsiteY9" fmla="*/ 0 h 6861600"/>
              <a:gd name="connsiteX10" fmla="*/ 12193200 w 12193200"/>
              <a:gd name="connsiteY10" fmla="*/ 385347 h 6861600"/>
              <a:gd name="connsiteX11" fmla="*/ 10356263 w 12193200"/>
              <a:gd name="connsiteY11" fmla="*/ 385347 h 6861600"/>
              <a:gd name="connsiteX12" fmla="*/ 10356263 w 12193200"/>
              <a:gd name="connsiteY12" fmla="*/ 1052938 h 6861600"/>
              <a:gd name="connsiteX13" fmla="*/ 11875707 w 12193200"/>
              <a:gd name="connsiteY13" fmla="*/ 1052938 h 6861600"/>
              <a:gd name="connsiteX14" fmla="*/ 11874774 w 12193200"/>
              <a:gd name="connsiteY14" fmla="*/ 1104936 h 6861600"/>
              <a:gd name="connsiteX15" fmla="*/ 10135555 w 12193200"/>
              <a:gd name="connsiteY15" fmla="*/ 2803133 h 6861600"/>
              <a:gd name="connsiteX16" fmla="*/ 10048891 w 12193200"/>
              <a:gd name="connsiteY16" fmla="*/ 2801311 h 6861600"/>
              <a:gd name="connsiteX17" fmla="*/ 10048891 w 12193200"/>
              <a:gd name="connsiteY17" fmla="*/ 3489879 h 6861600"/>
              <a:gd name="connsiteX18" fmla="*/ 10135555 w 12193200"/>
              <a:gd name="connsiteY18" fmla="*/ 3490769 h 6861600"/>
              <a:gd name="connsiteX19" fmla="*/ 12018386 w 12193200"/>
              <a:gd name="connsiteY19" fmla="*/ 2587286 h 6861600"/>
              <a:gd name="connsiteX20" fmla="*/ 12193200 w 12193200"/>
              <a:gd name="connsiteY20" fmla="*/ 2342909 h 6861600"/>
              <a:gd name="connsiteX21" fmla="*/ 12193200 w 12193200"/>
              <a:gd name="connsiteY21" fmla="*/ 6861600 h 6861600"/>
              <a:gd name="connsiteX22" fmla="*/ 0 w 12193200"/>
              <a:gd name="connsiteY22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7847702" y="0"/>
                </a:lnTo>
                <a:lnTo>
                  <a:pt x="7773894" y="205219"/>
                </a:lnTo>
                <a:cubicBezTo>
                  <a:pt x="7709177" y="414528"/>
                  <a:pt x="7672244" y="635625"/>
                  <a:pt x="7667636" y="864184"/>
                </a:cubicBezTo>
                <a:lnTo>
                  <a:pt x="7663991" y="1045692"/>
                </a:lnTo>
                <a:lnTo>
                  <a:pt x="8350737" y="1045692"/>
                </a:lnTo>
                <a:lnTo>
                  <a:pt x="8355314" y="872406"/>
                </a:lnTo>
                <a:cubicBezTo>
                  <a:pt x="8361130" y="633295"/>
                  <a:pt x="8416315" y="405626"/>
                  <a:pt x="8510839" y="199108"/>
                </a:cubicBezTo>
                <a:lnTo>
                  <a:pt x="8618103" y="0"/>
                </a:lnTo>
                <a:lnTo>
                  <a:pt x="12193200" y="0"/>
                </a:lnTo>
                <a:lnTo>
                  <a:pt x="12193200" y="385347"/>
                </a:lnTo>
                <a:lnTo>
                  <a:pt x="10356263" y="385347"/>
                </a:lnTo>
                <a:lnTo>
                  <a:pt x="10356263" y="1052938"/>
                </a:lnTo>
                <a:lnTo>
                  <a:pt x="11875707" y="1052938"/>
                </a:lnTo>
                <a:lnTo>
                  <a:pt x="11874774" y="1104936"/>
                </a:lnTo>
                <a:cubicBezTo>
                  <a:pt x="11851975" y="2041589"/>
                  <a:pt x="11071276" y="2803133"/>
                  <a:pt x="10135555" y="2803133"/>
                </a:cubicBezTo>
                <a:lnTo>
                  <a:pt x="10048891" y="2801311"/>
                </a:lnTo>
                <a:lnTo>
                  <a:pt x="10048891" y="3489879"/>
                </a:lnTo>
                <a:lnTo>
                  <a:pt x="10135555" y="3490769"/>
                </a:lnTo>
                <a:cubicBezTo>
                  <a:pt x="10890048" y="3490769"/>
                  <a:pt x="11571051" y="3137398"/>
                  <a:pt x="12018386" y="2587286"/>
                </a:cubicBezTo>
                <a:lnTo>
                  <a:pt x="12193200" y="2342909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" tIns="0" rIns="72000" bIns="72000" anchor="b" anchorCtr="0"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1400"/>
            </a:lvl1pPr>
          </a:lstStyle>
          <a:p>
            <a:r>
              <a:rPr lang="da-DK"/>
              <a:t>Klik på rammen og indsæt et billede, via fanen ”Indsæt” vælg ”Billede” fra F:\Grafik\Powerpoint-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Placeholder Logo">
            <a:extLst>
              <a:ext uri="{FF2B5EF4-FFF2-40B4-BE49-F238E27FC236}">
                <a16:creationId xmlns:a16="http://schemas.microsoft.com/office/drawing/2014/main" id="{8CF9B427-0200-724D-BDD0-0E94979553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2800" y="5774400"/>
            <a:ext cx="1670400" cy="72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8032369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096E7D2-7F51-FD39-1C4D-386EE2E6F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226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6E7D2-7F51-FD39-1C4D-386EE2E6F5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9D909-49D5-40E7-8A46-904F421801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6" name="Text Placeholder notes">
            <a:extLst>
              <a:ext uri="{FF2B5EF4-FFF2-40B4-BE49-F238E27FC236}">
                <a16:creationId xmlns:a16="http://schemas.microsoft.com/office/drawing/2014/main" id="{1EA5C163-383E-339B-0735-6ACED3DF9C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67012D6-48ED-4B03-85DE-25086AACD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7AB716-0309-754C-0B7E-73C48AD71C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21AA5-6588-9A37-5A5C-D63E7CD18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F773A89-88E3-D815-C857-2480AE10F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83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773A89-88E3-D815-C857-2480AE10F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notes">
            <a:extLst>
              <a:ext uri="{FF2B5EF4-FFF2-40B4-BE49-F238E27FC236}">
                <a16:creationId xmlns:a16="http://schemas.microsoft.com/office/drawing/2014/main" id="{94AA5642-1C76-6B18-6037-7503519EFA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958000"/>
            <a:ext cx="5194800" cy="360000"/>
          </a:xfrm>
        </p:spPr>
        <p:txBody>
          <a:bodyPr anchor="t" anchorCtr="0"/>
          <a:lstStyle>
            <a:lvl1pPr marL="0" indent="0" rtl="0">
              <a:spcAft>
                <a:spcPts val="300"/>
              </a:spcAft>
              <a:buFont typeface="Arial" panose="020B0604020202020204" pitchFamily="34" charset="0"/>
              <a:buNone/>
              <a:defRPr sz="800" i="1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a-DK"/>
              <a:t>Klik for at tilføje not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4E1B4C6A-FC10-1448-1E27-DF64D1240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5B82B7-12B0-864B-83F7-D649A621B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7DAA7C-CC91-E906-0AE1-7AD8B8540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5327F3C-E2F5-73B8-CBC7-CD062829B8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408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327F3C-E2F5-73B8-CBC7-CD062829B8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ast overskrift"/>
          <p:cNvSpPr txBox="1"/>
          <p:nvPr userDrawn="1"/>
        </p:nvSpPr>
        <p:spPr>
          <a:xfrm>
            <a:off x="719139" y="358775"/>
            <a:ext cx="10750550" cy="7401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27" name="Text Box 2">
            <a:extLst>
              <a:ext uri="{FF2B5EF4-FFF2-40B4-BE49-F238E27FC236}">
                <a16:creationId xmlns:a16="http://schemas.microsoft.com/office/drawing/2014/main" id="{1E86B7E7-F87D-4375-BAE3-34A81C5D0F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27991" y="1209623"/>
            <a:ext cx="2769272" cy="5201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or at skifte fra et niveau til det næst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at gå tilbage i tekst-niveauer, bru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da-DK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på bullet knappen for at sætte korrekt bullet i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16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60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da-DK" altLang="da-DK" sz="16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</a:p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på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knappe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3">
            <a:extLst>
              <a:ext uri="{FF2B5EF4-FFF2-40B4-BE49-F238E27FC236}">
                <a16:creationId xmlns:a16="http://schemas.microsoft.com/office/drawing/2014/main" id="{F5D76AC5-956B-497C-88E2-05290D3AAF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22775" y="1209623"/>
            <a:ext cx="2778125" cy="4023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ILLEDER</a:t>
            </a:r>
            <a:endParaRPr lang="da-DK" sz="16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dsæt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at søge efter billede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</a:p>
          <a:p>
            <a:pPr rtl="0" eaLnBrk="1" hangingPunct="1">
              <a:spcAft>
                <a:spcPts val="600"/>
              </a:spcAft>
              <a:defRPr/>
            </a:pP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marL="0" marR="0" lvl="0" indent="0" algn="l" defTabSz="684361" rtl="0" eaLnBrk="1" fontAlgn="auto" latinLnBrk="0" hangingPunct="1">
              <a:lnSpc>
                <a:spcPct val="100000"/>
              </a:lnSpc>
              <a:spcBef>
                <a:spcPts val="898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96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arver</a:t>
            </a:r>
            <a:br>
              <a:rPr lang="da-DK" sz="1198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98" b="0" kern="1200" noProof="1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t>Brug kun de øverste farver i farvetemaet og jeres Custom Colors.</a:t>
            </a:r>
            <a:endParaRPr lang="da-DK" altLang="da-DK" sz="673" b="0" kern="1200" noProof="1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4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673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0" name="Text Box 4">
            <a:extLst>
              <a:ext uri="{FF2B5EF4-FFF2-40B4-BE49-F238E27FC236}">
                <a16:creationId xmlns:a16="http://schemas.microsoft.com/office/drawing/2014/main" id="{460FBAEE-DC7E-44A6-BEA8-1DCAE4DE77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38110" y="1209623"/>
            <a:ext cx="3165041" cy="477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det sidste i din præsentation,</a:t>
            </a:r>
            <a:br>
              <a:rPr lang="da-DK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å ændringerne slår igennem på alle slides</a:t>
            </a:r>
            <a:endParaRPr 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dsæt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hvis det 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un skal være på et enkelt slide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160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 sz="16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da-DK" sz="900" b="0" i="0">
                <a:solidFill>
                  <a:srgbClr val="000000"/>
                </a:solidFill>
                <a:effectLst/>
                <a:latin typeface="+mn-lt"/>
              </a:rPr>
              <a:t>⌘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b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da-DK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OPY/PASTE INDHOLD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. Når din præsentation er klar, åbner du en tom præsentation (tryk Ctrl+N). Kopier alle dias fra den nye præsentation, indsæt dem i den tomme præsentation. Dette vil sikre, at der ikke er ekstra layout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7B73ADD-C9A2-4CC9-B9B1-829AB8120F3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35424" y="3101583"/>
            <a:ext cx="257143" cy="28571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4E7EF11-FB06-4FF3-89B6-C9C7B40D4D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48014" y="1525601"/>
            <a:ext cx="341204" cy="321707"/>
          </a:xfrm>
          <a:prstGeom prst="rect">
            <a:avLst/>
          </a:prstGeom>
        </p:spPr>
      </p:pic>
      <p:pic>
        <p:nvPicPr>
          <p:cNvPr id="33" name="Billede 1">
            <a:extLst>
              <a:ext uri="{FF2B5EF4-FFF2-40B4-BE49-F238E27FC236}">
                <a16:creationId xmlns:a16="http://schemas.microsoft.com/office/drawing/2014/main" id="{58944A03-80A9-4768-89E7-4E910EFFBC2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540871" y="4120015"/>
            <a:ext cx="308589" cy="528030"/>
          </a:xfrm>
          <a:prstGeom prst="rect">
            <a:avLst/>
          </a:prstGeom>
        </p:spPr>
      </p:pic>
      <p:pic>
        <p:nvPicPr>
          <p:cNvPr id="35" name="Billede 4">
            <a:extLst>
              <a:ext uri="{FF2B5EF4-FFF2-40B4-BE49-F238E27FC236}">
                <a16:creationId xmlns:a16="http://schemas.microsoft.com/office/drawing/2014/main" id="{51BFC2D6-78F9-4DE9-9EA2-2262FCDF4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031"/>
          <a:stretch/>
        </p:blipFill>
        <p:spPr>
          <a:xfrm>
            <a:off x="3535424" y="5893739"/>
            <a:ext cx="496606" cy="172842"/>
          </a:xfrm>
          <a:prstGeom prst="rect">
            <a:avLst/>
          </a:prstGeom>
        </p:spPr>
      </p:pic>
      <p:pic>
        <p:nvPicPr>
          <p:cNvPr id="36" name="Billede 5">
            <a:extLst>
              <a:ext uri="{FF2B5EF4-FFF2-40B4-BE49-F238E27FC236}">
                <a16:creationId xmlns:a16="http://schemas.microsoft.com/office/drawing/2014/main" id="{EBC4A3E5-1D15-4741-BFC6-17ACF4D5CD3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10090" y="2343542"/>
            <a:ext cx="366043" cy="48043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C19287C-813E-4966-89A1-64D6247DEA8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535965" y="2343542"/>
            <a:ext cx="457143" cy="25714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07658DD-99CF-4B02-82C0-E6D1C908CA1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541845" y="4825302"/>
            <a:ext cx="475428" cy="17676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5803521-009F-447D-8D16-21D9EADF441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14378" y="1686454"/>
            <a:ext cx="440195" cy="543366"/>
          </a:xfrm>
          <a:prstGeom prst="rect">
            <a:avLst/>
          </a:prstGeom>
        </p:spPr>
      </p:pic>
      <p:sp>
        <p:nvSpPr>
          <p:cNvPr id="14" name="Date Placeholder 6" hidden="1">
            <a:extLst>
              <a:ext uri="{FF2B5EF4-FFF2-40B4-BE49-F238E27FC236}">
                <a16:creationId xmlns:a16="http://schemas.microsoft.com/office/drawing/2014/main" id="{E4FD2B6E-39A9-4094-A5FF-CBA180265C0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5" name="Footer Placeholder 8" hidden="1">
            <a:extLst>
              <a:ext uri="{FF2B5EF4-FFF2-40B4-BE49-F238E27FC236}">
                <a16:creationId xmlns:a16="http://schemas.microsoft.com/office/drawing/2014/main" id="{AAFF8183-88DB-4217-8B14-93C3A2F3C6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2ECA3156-EAFA-499A-BDD3-C3FE309B573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0A7748-B53F-D5B7-023C-0B76CEB78D13}"/>
              </a:ext>
            </a:extLst>
          </p:cNvPr>
          <p:cNvGrpSpPr/>
          <p:nvPr userDrawn="1"/>
        </p:nvGrpSpPr>
        <p:grpSpPr>
          <a:xfrm>
            <a:off x="4434474" y="4527631"/>
            <a:ext cx="1207954" cy="1696192"/>
            <a:chOff x="4413348" y="4706744"/>
            <a:chExt cx="1207954" cy="169619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35CD5EE-7B26-2258-9D1A-160A2634EFD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/>
            <a:srcRect b="19828"/>
            <a:stretch/>
          </p:blipFill>
          <p:spPr>
            <a:xfrm>
              <a:off x="4433788" y="4706744"/>
              <a:ext cx="1187514" cy="1696192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CB903FC-B317-4D1F-BDF6-3F43E0156E9F}"/>
                </a:ext>
              </a:extLst>
            </p:cNvPr>
            <p:cNvSpPr/>
            <p:nvPr userDrawn="1"/>
          </p:nvSpPr>
          <p:spPr>
            <a:xfrm>
              <a:off x="4432664" y="4888220"/>
              <a:ext cx="1175997" cy="169004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/>
              <a:endParaRPr lang="da-DK" sz="1796" err="1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C63BF9C-CEC5-402D-BD6A-906568AD52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13348" y="5085066"/>
              <a:ext cx="1187940" cy="481908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9763E05-8ACA-4642-BB48-E3D0F7A412A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418047" y="5090605"/>
              <a:ext cx="1174414" cy="476369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169882B-22BC-4EA6-8B9E-2BE0887A25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23167" y="6238403"/>
              <a:ext cx="1169294" cy="116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432A1A8-17CF-4982-BF94-1FDCF12E2E6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420593" y="6238403"/>
              <a:ext cx="1171867" cy="116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CDEEC08-0D16-B6D3-60E7-8584581C348B}"/>
                </a:ext>
              </a:extLst>
            </p:cNvPr>
            <p:cNvSpPr/>
            <p:nvPr userDrawn="1"/>
          </p:nvSpPr>
          <p:spPr>
            <a:xfrm>
              <a:off x="4432664" y="5818186"/>
              <a:ext cx="1175997" cy="169004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/>
              <a:endParaRPr lang="da-DK" sz="1796" err="1"/>
            </a:p>
          </p:txBody>
        </p:sp>
      </p:grpSp>
    </p:spTree>
    <p:extLst>
      <p:ext uri="{BB962C8B-B14F-4D97-AF65-F5344CB8AC3E}">
        <p14:creationId xmlns:p14="http://schemas.microsoft.com/office/powerpoint/2010/main" val="812941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DEE6E6-DE9F-70AB-5BDF-3DA2DF288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19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EE6E6-DE9F-70AB-5BDF-3DA2DF288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>
                <a:solidFill>
                  <a:schemeClr val="bg1"/>
                </a:solidFill>
              </a:rPr>
              <a:t>layouts efter dette,</a:t>
            </a:r>
            <a:br>
              <a:rPr lang="da-DK" sz="4400" b="0" i="0" noProof="0">
                <a:solidFill>
                  <a:schemeClr val="bg1"/>
                </a:solidFill>
              </a:rPr>
            </a:br>
            <a:r>
              <a:rPr lang="da-DK" sz="4400" b="0" noProof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>
                <a:solidFill>
                  <a:schemeClr val="bg1"/>
                </a:solidFill>
              </a:rPr>
              <a:t>vores Corporate </a:t>
            </a:r>
            <a:r>
              <a:rPr lang="da-DK" sz="4400" b="0" noProof="0">
                <a:solidFill>
                  <a:schemeClr val="bg1"/>
                </a:solidFill>
              </a:rPr>
              <a:t>skabelon.</a:t>
            </a:r>
            <a:br>
              <a:rPr lang="da-DK" sz="2800" b="0" noProof="0">
                <a:solidFill>
                  <a:schemeClr val="bg1"/>
                </a:solidFill>
              </a:rPr>
            </a:br>
            <a:br>
              <a:rPr lang="da-DK" sz="2800" b="0" noProof="0">
                <a:solidFill>
                  <a:schemeClr val="bg1"/>
                </a:solidFill>
              </a:rPr>
            </a:br>
            <a:endParaRPr lang="da-DK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0000" b="1" i="1" noProof="0">
                <a:solidFill>
                  <a:schemeClr val="bg1"/>
                </a:solidFill>
              </a:rPr>
              <a:t>Brug dem ikke</a:t>
            </a:r>
            <a:endParaRPr lang="da-DK" sz="10000" b="1" i="1" noProof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bg1"/>
                </a:solidFill>
              </a:rPr>
              <a:t>OBS! Layouts efter dette kan indeholde potential fortrolig information.</a:t>
            </a:r>
            <a:br>
              <a:rPr lang="da-DK" sz="1800" b="0" noProof="0">
                <a:solidFill>
                  <a:schemeClr val="bg1"/>
                </a:solidFill>
              </a:rPr>
            </a:br>
            <a:endParaRPr lang="da-DK" sz="180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16F02AC0-8835-4687-9809-625BC7974E0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D6C9CE-4F2C-454C-BB55-801B8D39FB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475F42F-AD98-4F3B-A294-8047E72ED3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8662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og bille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3FD987-4CC2-4BBE-35CD-9F60A1999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4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3FD987-4CC2-4BBE-35CD-9F60A1999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 hidden="1">
            <a:extLst>
              <a:ext uri="{FF2B5EF4-FFF2-40B4-BE49-F238E27FC236}">
                <a16:creationId xmlns:a16="http://schemas.microsoft.com/office/drawing/2014/main" id="{44F5BB7B-A56C-FF4C-5E7D-8595307DB9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7A38070D-BE7B-DB42-4133-B218FF7271ED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7" name="Billedepladsholder">
            <a:extLst>
              <a:ext uri="{FF2B5EF4-FFF2-40B4-BE49-F238E27FC236}">
                <a16:creationId xmlns:a16="http://schemas.microsoft.com/office/drawing/2014/main" id="{D19DED2D-CB98-2D06-ED46-5564F92D76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7847702 w 12193200"/>
              <a:gd name="connsiteY1" fmla="*/ 0 h 6861600"/>
              <a:gd name="connsiteX2" fmla="*/ 7773894 w 12193200"/>
              <a:gd name="connsiteY2" fmla="*/ 205219 h 6861600"/>
              <a:gd name="connsiteX3" fmla="*/ 7667636 w 12193200"/>
              <a:gd name="connsiteY3" fmla="*/ 864184 h 6861600"/>
              <a:gd name="connsiteX4" fmla="*/ 7663991 w 12193200"/>
              <a:gd name="connsiteY4" fmla="*/ 1045692 h 6861600"/>
              <a:gd name="connsiteX5" fmla="*/ 8350737 w 12193200"/>
              <a:gd name="connsiteY5" fmla="*/ 1045692 h 6861600"/>
              <a:gd name="connsiteX6" fmla="*/ 8355314 w 12193200"/>
              <a:gd name="connsiteY6" fmla="*/ 872406 h 6861600"/>
              <a:gd name="connsiteX7" fmla="*/ 8510839 w 12193200"/>
              <a:gd name="connsiteY7" fmla="*/ 199108 h 6861600"/>
              <a:gd name="connsiteX8" fmla="*/ 8618103 w 12193200"/>
              <a:gd name="connsiteY8" fmla="*/ 0 h 6861600"/>
              <a:gd name="connsiteX9" fmla="*/ 12193200 w 12193200"/>
              <a:gd name="connsiteY9" fmla="*/ 0 h 6861600"/>
              <a:gd name="connsiteX10" fmla="*/ 12193200 w 12193200"/>
              <a:gd name="connsiteY10" fmla="*/ 385347 h 6861600"/>
              <a:gd name="connsiteX11" fmla="*/ 10356263 w 12193200"/>
              <a:gd name="connsiteY11" fmla="*/ 385347 h 6861600"/>
              <a:gd name="connsiteX12" fmla="*/ 10356263 w 12193200"/>
              <a:gd name="connsiteY12" fmla="*/ 1052938 h 6861600"/>
              <a:gd name="connsiteX13" fmla="*/ 11875707 w 12193200"/>
              <a:gd name="connsiteY13" fmla="*/ 1052938 h 6861600"/>
              <a:gd name="connsiteX14" fmla="*/ 11874774 w 12193200"/>
              <a:gd name="connsiteY14" fmla="*/ 1104936 h 6861600"/>
              <a:gd name="connsiteX15" fmla="*/ 10135555 w 12193200"/>
              <a:gd name="connsiteY15" fmla="*/ 2803133 h 6861600"/>
              <a:gd name="connsiteX16" fmla="*/ 10048891 w 12193200"/>
              <a:gd name="connsiteY16" fmla="*/ 2801311 h 6861600"/>
              <a:gd name="connsiteX17" fmla="*/ 10048891 w 12193200"/>
              <a:gd name="connsiteY17" fmla="*/ 3489879 h 6861600"/>
              <a:gd name="connsiteX18" fmla="*/ 10135555 w 12193200"/>
              <a:gd name="connsiteY18" fmla="*/ 3490769 h 6861600"/>
              <a:gd name="connsiteX19" fmla="*/ 12018386 w 12193200"/>
              <a:gd name="connsiteY19" fmla="*/ 2587286 h 6861600"/>
              <a:gd name="connsiteX20" fmla="*/ 12193200 w 12193200"/>
              <a:gd name="connsiteY20" fmla="*/ 2342909 h 6861600"/>
              <a:gd name="connsiteX21" fmla="*/ 12193200 w 12193200"/>
              <a:gd name="connsiteY21" fmla="*/ 6861600 h 6861600"/>
              <a:gd name="connsiteX22" fmla="*/ 0 w 12193200"/>
              <a:gd name="connsiteY22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7847702" y="0"/>
                </a:lnTo>
                <a:lnTo>
                  <a:pt x="7773894" y="205219"/>
                </a:lnTo>
                <a:cubicBezTo>
                  <a:pt x="7709177" y="414528"/>
                  <a:pt x="7672244" y="635625"/>
                  <a:pt x="7667636" y="864184"/>
                </a:cubicBezTo>
                <a:lnTo>
                  <a:pt x="7663991" y="1045692"/>
                </a:lnTo>
                <a:lnTo>
                  <a:pt x="8350737" y="1045692"/>
                </a:lnTo>
                <a:lnTo>
                  <a:pt x="8355314" y="872406"/>
                </a:lnTo>
                <a:cubicBezTo>
                  <a:pt x="8361130" y="633295"/>
                  <a:pt x="8416315" y="405626"/>
                  <a:pt x="8510839" y="199108"/>
                </a:cubicBezTo>
                <a:lnTo>
                  <a:pt x="8618103" y="0"/>
                </a:lnTo>
                <a:lnTo>
                  <a:pt x="12193200" y="0"/>
                </a:lnTo>
                <a:lnTo>
                  <a:pt x="12193200" y="385347"/>
                </a:lnTo>
                <a:lnTo>
                  <a:pt x="10356263" y="385347"/>
                </a:lnTo>
                <a:lnTo>
                  <a:pt x="10356263" y="1052938"/>
                </a:lnTo>
                <a:lnTo>
                  <a:pt x="11875707" y="1052938"/>
                </a:lnTo>
                <a:lnTo>
                  <a:pt x="11874774" y="1104936"/>
                </a:lnTo>
                <a:cubicBezTo>
                  <a:pt x="11851975" y="2041589"/>
                  <a:pt x="11071276" y="2803133"/>
                  <a:pt x="10135555" y="2803133"/>
                </a:cubicBezTo>
                <a:lnTo>
                  <a:pt x="10048891" y="2801311"/>
                </a:lnTo>
                <a:lnTo>
                  <a:pt x="10048891" y="3489879"/>
                </a:lnTo>
                <a:lnTo>
                  <a:pt x="10135555" y="3490769"/>
                </a:lnTo>
                <a:cubicBezTo>
                  <a:pt x="10890048" y="3490769"/>
                  <a:pt x="11571051" y="3137398"/>
                  <a:pt x="12018386" y="2587286"/>
                </a:cubicBezTo>
                <a:lnTo>
                  <a:pt x="12193200" y="2342909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" tIns="0" rIns="72000" bIns="72000" anchor="b" anchorCtr="0"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1400"/>
            </a:lvl1pPr>
          </a:lstStyle>
          <a:p>
            <a:r>
              <a:rPr lang="da-DK"/>
              <a:t>Klik på rammen og indsæt et billede, via fanen ”Indsæt” vælg ”Billede” fra F:\Grafik\Powerpoint-billeder</a:t>
            </a:r>
          </a:p>
        </p:txBody>
      </p:sp>
      <p:sp>
        <p:nvSpPr>
          <p:cNvPr id="13" name="Placeholder Logo">
            <a:extLst>
              <a:ext uri="{FF2B5EF4-FFF2-40B4-BE49-F238E27FC236}">
                <a16:creationId xmlns:a16="http://schemas.microsoft.com/office/drawing/2014/main" id="{72C4FD16-9228-4896-47CA-F8162A8BA5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2800" y="5774400"/>
            <a:ext cx="1670400" cy="72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1714555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og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1D01DB3-51AC-8829-8DC8-9DF803BF9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1923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01DB3-51AC-8829-8DC8-9DF803BF9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 hidden="1">
            <a:extLst>
              <a:ext uri="{FF2B5EF4-FFF2-40B4-BE49-F238E27FC236}">
                <a16:creationId xmlns:a16="http://schemas.microsoft.com/office/drawing/2014/main" id="{44F5BB7B-A56C-FF4C-5E7D-8595307DB9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7A38070D-BE7B-DB42-4133-B218FF7271ED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3C7E186-C2AB-353A-436A-4ACA7B678DEA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7847701 w 12192000"/>
              <a:gd name="connsiteY1" fmla="*/ 0 h 6858000"/>
              <a:gd name="connsiteX2" fmla="*/ 7773893 w 12192000"/>
              <a:gd name="connsiteY2" fmla="*/ 205218 h 6858000"/>
              <a:gd name="connsiteX3" fmla="*/ 7667636 w 12192000"/>
              <a:gd name="connsiteY3" fmla="*/ 864183 h 6858000"/>
              <a:gd name="connsiteX4" fmla="*/ 7663991 w 12192000"/>
              <a:gd name="connsiteY4" fmla="*/ 1045691 h 6858000"/>
              <a:gd name="connsiteX5" fmla="*/ 8350737 w 12192000"/>
              <a:gd name="connsiteY5" fmla="*/ 1045691 h 6858000"/>
              <a:gd name="connsiteX6" fmla="*/ 8355314 w 12192000"/>
              <a:gd name="connsiteY6" fmla="*/ 872404 h 6858000"/>
              <a:gd name="connsiteX7" fmla="*/ 8510839 w 12192000"/>
              <a:gd name="connsiteY7" fmla="*/ 199107 h 6858000"/>
              <a:gd name="connsiteX8" fmla="*/ 8618103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385346 h 6858000"/>
              <a:gd name="connsiteX11" fmla="*/ 10356263 w 12192000"/>
              <a:gd name="connsiteY11" fmla="*/ 385346 h 6858000"/>
              <a:gd name="connsiteX12" fmla="*/ 10356263 w 12192000"/>
              <a:gd name="connsiteY12" fmla="*/ 1052937 h 6858000"/>
              <a:gd name="connsiteX13" fmla="*/ 11875707 w 12192000"/>
              <a:gd name="connsiteY13" fmla="*/ 1052937 h 6858000"/>
              <a:gd name="connsiteX14" fmla="*/ 11874774 w 12192000"/>
              <a:gd name="connsiteY14" fmla="*/ 1104935 h 6858000"/>
              <a:gd name="connsiteX15" fmla="*/ 10135555 w 12192000"/>
              <a:gd name="connsiteY15" fmla="*/ 2803132 h 6858000"/>
              <a:gd name="connsiteX16" fmla="*/ 10048891 w 12192000"/>
              <a:gd name="connsiteY16" fmla="*/ 2801309 h 6858000"/>
              <a:gd name="connsiteX17" fmla="*/ 10048891 w 12192000"/>
              <a:gd name="connsiteY17" fmla="*/ 3489877 h 6858000"/>
              <a:gd name="connsiteX18" fmla="*/ 10135555 w 12192000"/>
              <a:gd name="connsiteY18" fmla="*/ 3490767 h 6858000"/>
              <a:gd name="connsiteX19" fmla="*/ 12018386 w 12192000"/>
              <a:gd name="connsiteY19" fmla="*/ 2587284 h 6858000"/>
              <a:gd name="connsiteX20" fmla="*/ 12192000 w 12192000"/>
              <a:gd name="connsiteY20" fmla="*/ 2344584 h 6858000"/>
              <a:gd name="connsiteX21" fmla="*/ 12192000 w 12192000"/>
              <a:gd name="connsiteY21" fmla="*/ 6858000 h 6858000"/>
              <a:gd name="connsiteX22" fmla="*/ 0 w 12192000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7847701" y="0"/>
                </a:lnTo>
                <a:lnTo>
                  <a:pt x="7773893" y="205218"/>
                </a:lnTo>
                <a:cubicBezTo>
                  <a:pt x="7709177" y="414527"/>
                  <a:pt x="7672244" y="635624"/>
                  <a:pt x="7667636" y="864183"/>
                </a:cubicBezTo>
                <a:lnTo>
                  <a:pt x="7663991" y="1045691"/>
                </a:lnTo>
                <a:lnTo>
                  <a:pt x="8350737" y="1045691"/>
                </a:lnTo>
                <a:lnTo>
                  <a:pt x="8355314" y="872404"/>
                </a:lnTo>
                <a:cubicBezTo>
                  <a:pt x="8361130" y="633294"/>
                  <a:pt x="8416315" y="405625"/>
                  <a:pt x="8510839" y="199107"/>
                </a:cubicBezTo>
                <a:lnTo>
                  <a:pt x="8618103" y="0"/>
                </a:lnTo>
                <a:lnTo>
                  <a:pt x="12192000" y="0"/>
                </a:lnTo>
                <a:lnTo>
                  <a:pt x="12192000" y="385346"/>
                </a:lnTo>
                <a:lnTo>
                  <a:pt x="10356263" y="385346"/>
                </a:lnTo>
                <a:lnTo>
                  <a:pt x="10356263" y="1052937"/>
                </a:lnTo>
                <a:lnTo>
                  <a:pt x="11875707" y="1052937"/>
                </a:lnTo>
                <a:lnTo>
                  <a:pt x="11874774" y="1104935"/>
                </a:lnTo>
                <a:cubicBezTo>
                  <a:pt x="11851975" y="2041588"/>
                  <a:pt x="11071276" y="2803132"/>
                  <a:pt x="10135555" y="2803132"/>
                </a:cubicBezTo>
                <a:lnTo>
                  <a:pt x="10048891" y="2801309"/>
                </a:lnTo>
                <a:lnTo>
                  <a:pt x="10048891" y="3489877"/>
                </a:lnTo>
                <a:lnTo>
                  <a:pt x="10135555" y="3490767"/>
                </a:lnTo>
                <a:cubicBezTo>
                  <a:pt x="10890048" y="3490767"/>
                  <a:pt x="11571051" y="3137397"/>
                  <a:pt x="12018386" y="2587284"/>
                </a:cubicBezTo>
                <a:lnTo>
                  <a:pt x="12192000" y="2344584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" rIns="72000" bIns="72000" anchor="b" anchorCtr="0">
            <a:noAutofit/>
          </a:bodyPr>
          <a:lstStyle>
            <a:lvl1pPr marL="0" indent="0" rtl="0">
              <a:buNone/>
              <a:defRPr sz="1400"/>
            </a:lvl1pPr>
          </a:lstStyle>
          <a:p>
            <a:r>
              <a:rPr lang="da-DK"/>
              <a:t>Klik på rammen og indsæt et billede, via fanen ”Indsæt” vælg ”Billede” fra F:\Grafik\Powerpoint-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400"/>
            <a:ext cx="7059600" cy="3805200"/>
          </a:xfrm>
        </p:spPr>
        <p:txBody>
          <a:bodyPr vert="horz" anchor="ctr" anchorCtr="0"/>
          <a:lstStyle>
            <a:lvl1pPr algn="l" rtl="0">
              <a:defRPr sz="7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it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353F8BA-E1DD-4144-D2C5-AC6A8EA59E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600" y="3600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tekst</a:t>
            </a:r>
            <a:endParaRPr lang="da-DK" noProof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37141BC-0522-914F-8DE5-4D9773A20A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600" y="547200"/>
            <a:ext cx="4255200" cy="180000"/>
          </a:xfrm>
        </p:spPr>
        <p:txBody>
          <a:bodyPr anchor="t" anchorCtr="0"/>
          <a:lstStyle>
            <a:lvl1pPr marL="0" indent="0" rtl="0">
              <a:lnSpc>
                <a:spcPct val="83000"/>
              </a:lnSpc>
              <a:spcAft>
                <a:spcPts val="0"/>
              </a:spcAft>
              <a:buFontTx/>
              <a:buNone/>
              <a:defRPr sz="10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3pPr>
            <a:lvl4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4pPr>
            <a:lvl5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6pPr>
            <a:lvl7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7pPr>
            <a:lvl8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8pPr>
            <a:lvl9pPr marL="0">
              <a:lnSpc>
                <a:spcPct val="100000"/>
              </a:lnSpc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Nav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A70681-3AFA-0E51-F880-A00AE2DE723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0000" y="3600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EA4E-63BB-80A6-333D-F922587D362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719138" y="547200"/>
            <a:ext cx="2419200" cy="180000"/>
          </a:xfrm>
        </p:spPr>
        <p:txBody>
          <a:bodyPr anchor="t" anchorCtr="0"/>
          <a:lstStyle>
            <a:lvl1pPr rtl="0">
              <a:lnSpc>
                <a:spcPct val="83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Placeholder Logo">
            <a:extLst>
              <a:ext uri="{FF2B5EF4-FFF2-40B4-BE49-F238E27FC236}">
                <a16:creationId xmlns:a16="http://schemas.microsoft.com/office/drawing/2014/main" id="{49381853-2435-B2D0-4CF2-BD7D8327E6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2800" y="5774400"/>
            <a:ext cx="1670400" cy="72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35106308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rgbClr val="6FC2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25EBBE8-E1A3-9D8D-F2F8-3066BF0189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57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5EBBE8-E1A3-9D8D-F2F8-3066BF018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2540C385-98FB-DC79-A183-8A6B3B6DC9FF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6FC2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116ACD05-E0FB-4662-140A-C9AC8C972A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5418000"/>
          </a:xfrm>
        </p:spPr>
        <p:txBody>
          <a:bodyPr vert="horz"/>
          <a:lstStyle>
            <a:lvl1pPr rtl="0">
              <a:defRPr sz="4800"/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Agenda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275387" y="360000"/>
            <a:ext cx="5194800" cy="5418000"/>
          </a:xfrm>
        </p:spPr>
        <p:txBody>
          <a:bodyPr tIns="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307675"/>
                </a:solidFill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307675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307675"/>
                </a:solidFill>
              </a:defRPr>
            </a:lvl9pPr>
          </a:lstStyle>
          <a:p>
            <a:pPr lvl="0"/>
            <a:r>
              <a:rPr lang="da-DK" noProof="0"/>
              <a:t>Klik for at tilføje agenda punkt                     Klik ENTER og derefter TAB for at se næste tekstformat              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307675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9498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rgbClr val="B5C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14E4CA0-B3D3-0805-69F2-CAF382C10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09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4E4CA0-B3D3-0805-69F2-CAF382C10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2540C385-98FB-DC79-A183-8A6B3B6DC9FF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B5C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err="1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116ACD05-E0FB-4662-140A-C9AC8C972A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27601" y="5958000"/>
            <a:ext cx="1246906" cy="5399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5194800" cy="5418000"/>
          </a:xfrm>
        </p:spPr>
        <p:txBody>
          <a:bodyPr vert="horz"/>
          <a:lstStyle>
            <a:lvl1pPr rtl="0">
              <a:defRPr sz="4800">
                <a:solidFill>
                  <a:srgbClr val="246C99"/>
                </a:solidFill>
              </a:defRPr>
            </a:lvl1pPr>
          </a:lstStyle>
          <a:p>
            <a:r>
              <a:rPr lang="da-DK"/>
              <a:t>Klik for at </a:t>
            </a:r>
            <a:r>
              <a:rPr lang="da-DK" noProof="0"/>
              <a:t>tilføje</a:t>
            </a:r>
            <a:r>
              <a:rPr lang="da-DK"/>
              <a:t> Agenda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275387" y="360000"/>
            <a:ext cx="5194800" cy="5418000"/>
          </a:xfrm>
        </p:spPr>
        <p:txBody>
          <a:bodyPr tIns="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>
                <a:solidFill>
                  <a:srgbClr val="246C99"/>
                </a:solidFill>
              </a:defRPr>
            </a:lvl1pPr>
            <a:lvl2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2pPr>
            <a:lvl3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3pPr>
            <a:lvl4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4pPr>
            <a:lvl5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5pPr>
            <a:lvl6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6pPr>
            <a:lvl7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7pPr>
            <a:lvl8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1">
                <a:solidFill>
                  <a:srgbClr val="246C99"/>
                </a:solidFill>
              </a:defRPr>
            </a:lvl8pPr>
            <a:lvl9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>
                <a:tab pos="396000" algn="l"/>
              </a:tabLst>
              <a:defRPr sz="2000" b="0">
                <a:solidFill>
                  <a:srgbClr val="246C99"/>
                </a:solidFill>
              </a:defRPr>
            </a:lvl9pPr>
          </a:lstStyle>
          <a:p>
            <a:pPr lvl="0"/>
            <a:r>
              <a:rPr lang="da-DK" noProof="0"/>
              <a:t>Klik for at tilføje agenda punkt                     Klik ENTER og derefter TAB for at se næste tekstformat                                          Klik SHIFT+TAB for at se foregående tekstformat</a:t>
            </a:r>
          </a:p>
          <a:p>
            <a:pPr lvl="1"/>
            <a:r>
              <a:rPr lang="da-DK" noProof="0"/>
              <a:t>Anden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  <a:p>
            <a:pPr lvl="5"/>
            <a:r>
              <a:rPr lang="da-DK" noProof="0"/>
              <a:t>6 Niveau</a:t>
            </a:r>
          </a:p>
          <a:p>
            <a:pPr lvl="6"/>
            <a:r>
              <a:rPr lang="da-DK" noProof="0"/>
              <a:t>7 Niveau</a:t>
            </a:r>
          </a:p>
          <a:p>
            <a:pPr lvl="7"/>
            <a:r>
              <a:rPr lang="da-DK" noProof="0"/>
              <a:t>8 Niveau</a:t>
            </a:r>
          </a:p>
          <a:p>
            <a:pPr lvl="8"/>
            <a:r>
              <a:rPr lang="da-DK" noProof="0"/>
              <a:t>9 Niveau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F988AD-8C21-FAC1-FE6F-2FBDAE36376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3B276-8576-7CED-93DA-8C7FEA86E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9089A8-6A5B-9779-EBB6-327CCEB2B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rgbClr val="246C99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5842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tags" Target="../tags/tag10.xml"/><Relationship Id="rId68" Type="http://schemas.openxmlformats.org/officeDocument/2006/relationships/tags" Target="../tags/tag15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5.xml"/><Relationship Id="rId66" Type="http://schemas.openxmlformats.org/officeDocument/2006/relationships/tags" Target="../tags/tag13.xml"/><Relationship Id="rId74" Type="http://schemas.openxmlformats.org/officeDocument/2006/relationships/image" Target="../media/image4.svg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64" Type="http://schemas.openxmlformats.org/officeDocument/2006/relationships/tags" Target="../tags/tag11.xml"/><Relationship Id="rId69" Type="http://schemas.openxmlformats.org/officeDocument/2006/relationships/tags" Target="../tags/tag16.xml"/><Relationship Id="rId77" Type="http://schemas.openxmlformats.org/officeDocument/2006/relationships/image" Target="../media/image7.sv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6.xml"/><Relationship Id="rId67" Type="http://schemas.openxmlformats.org/officeDocument/2006/relationships/tags" Target="../tags/tag1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62" Type="http://schemas.openxmlformats.org/officeDocument/2006/relationships/tags" Target="../tags/tag9.xml"/><Relationship Id="rId70" Type="http://schemas.openxmlformats.org/officeDocument/2006/relationships/oleObject" Target="../embeddings/oleObject1.bin"/><Relationship Id="rId75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7.xml"/><Relationship Id="rId65" Type="http://schemas.openxmlformats.org/officeDocument/2006/relationships/tags" Target="../tags/tag12.xml"/><Relationship Id="rId73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6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41AC919E-2665-4B65-AEB2-6161474F9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79659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606" imgH="608" progId="TCLayout.ActiveDocument.1">
                  <p:embed/>
                </p:oleObj>
              </mc:Choice>
              <mc:Fallback>
                <p:oleObj name="think-cell Slide" r:id="rId70" imgW="606" imgH="60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AC919E-2665-4B65-AEB2-6161474F9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hidden="1">
            <a:extLst>
              <a:ext uri="{FF2B5EF4-FFF2-40B4-BE49-F238E27FC236}">
                <a16:creationId xmlns:a16="http://schemas.microsoft.com/office/drawing/2014/main" id="{B73CEE4F-83ED-3F5E-46AA-E5DDBC78499F}"/>
              </a:ext>
            </a:extLst>
          </p:cNvPr>
          <p:cNvPicPr>
            <a:picLocks noChangeAspect="1"/>
          </p:cNvPicPr>
          <p:nvPr userDrawn="1"/>
        </p:nvPicPr>
        <p:blipFill>
          <a:blip r:embed="rId72"/>
          <a:stretch>
            <a:fillRect/>
          </a:stretch>
        </p:blipFill>
        <p:spPr>
          <a:xfrm>
            <a:off x="629256" y="1332375"/>
            <a:ext cx="2331826" cy="671523"/>
          </a:xfrm>
          <a:prstGeom prst="rect">
            <a:avLst/>
          </a:prstGeom>
        </p:spPr>
      </p:pic>
      <p:grpSp>
        <p:nvGrpSpPr>
          <p:cNvPr id="22" name="Group grid" hidden="1">
            <a:extLst>
              <a:ext uri="{FF2B5EF4-FFF2-40B4-BE49-F238E27FC236}">
                <a16:creationId xmlns:a16="http://schemas.microsoft.com/office/drawing/2014/main" id="{30DE59F5-C45B-B791-F7D0-B52110F1488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719994" y="360000"/>
            <a:ext cx="10750423" cy="6138000"/>
            <a:chOff x="719994" y="360000"/>
            <a:chExt cx="10750423" cy="6138000"/>
          </a:xfrm>
        </p:grpSpPr>
        <p:sp>
          <p:nvSpPr>
            <p:cNvPr id="4" name="S1">
              <a:extLst>
                <a:ext uri="{FF2B5EF4-FFF2-40B4-BE49-F238E27FC236}">
                  <a16:creationId xmlns:a16="http://schemas.microsoft.com/office/drawing/2014/main" id="{DBE5415C-8C9C-5A53-E4EE-515847064E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56"/>
              </p:custDataLst>
            </p:nvPr>
          </p:nvSpPr>
          <p:spPr>
            <a:xfrm>
              <a:off x="128596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5" name="S2">
              <a:extLst>
                <a:ext uri="{FF2B5EF4-FFF2-40B4-BE49-F238E27FC236}">
                  <a16:creationId xmlns:a16="http://schemas.microsoft.com/office/drawing/2014/main" id="{AEDCA3D1-CA66-755E-C2D7-1920516546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57"/>
              </p:custDataLst>
            </p:nvPr>
          </p:nvSpPr>
          <p:spPr>
            <a:xfrm>
              <a:off x="221193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0" name="S3">
              <a:extLst>
                <a:ext uri="{FF2B5EF4-FFF2-40B4-BE49-F238E27FC236}">
                  <a16:creationId xmlns:a16="http://schemas.microsoft.com/office/drawing/2014/main" id="{80315AC8-5B7F-E75A-DED7-3B1EED185ED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58"/>
              </p:custDataLst>
            </p:nvPr>
          </p:nvSpPr>
          <p:spPr>
            <a:xfrm>
              <a:off x="313790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" name="S4">
              <a:extLst>
                <a:ext uri="{FF2B5EF4-FFF2-40B4-BE49-F238E27FC236}">
                  <a16:creationId xmlns:a16="http://schemas.microsoft.com/office/drawing/2014/main" id="{BA07AE84-5A14-6AEB-9A69-7DE0612851F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59"/>
              </p:custDataLst>
            </p:nvPr>
          </p:nvSpPr>
          <p:spPr>
            <a:xfrm>
              <a:off x="406387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5">
              <a:extLst>
                <a:ext uri="{FF2B5EF4-FFF2-40B4-BE49-F238E27FC236}">
                  <a16:creationId xmlns:a16="http://schemas.microsoft.com/office/drawing/2014/main" id="{3D9F74BC-B1E5-B6CD-3AAB-10C2BD5D1EB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0"/>
              </p:custDataLst>
            </p:nvPr>
          </p:nvSpPr>
          <p:spPr>
            <a:xfrm>
              <a:off x="498984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3BCD7797-3B66-42BE-053E-05E87D11E05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1"/>
              </p:custDataLst>
            </p:nvPr>
          </p:nvSpPr>
          <p:spPr>
            <a:xfrm>
              <a:off x="591581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7">
              <a:extLst>
                <a:ext uri="{FF2B5EF4-FFF2-40B4-BE49-F238E27FC236}">
                  <a16:creationId xmlns:a16="http://schemas.microsoft.com/office/drawing/2014/main" id="{4A7DB72B-FA5D-708B-D1B9-ADBC827B69B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2"/>
              </p:custDataLst>
            </p:nvPr>
          </p:nvSpPr>
          <p:spPr>
            <a:xfrm>
              <a:off x="684178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8">
              <a:extLst>
                <a:ext uri="{FF2B5EF4-FFF2-40B4-BE49-F238E27FC236}">
                  <a16:creationId xmlns:a16="http://schemas.microsoft.com/office/drawing/2014/main" id="{B0F60847-D5B6-B4BB-D29A-DD2C5359A83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3"/>
              </p:custDataLst>
            </p:nvPr>
          </p:nvSpPr>
          <p:spPr>
            <a:xfrm>
              <a:off x="776775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9">
              <a:extLst>
                <a:ext uri="{FF2B5EF4-FFF2-40B4-BE49-F238E27FC236}">
                  <a16:creationId xmlns:a16="http://schemas.microsoft.com/office/drawing/2014/main" id="{2A787A23-2672-D0BB-48C7-616E1336782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4"/>
              </p:custDataLst>
            </p:nvPr>
          </p:nvSpPr>
          <p:spPr>
            <a:xfrm>
              <a:off x="869372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0">
              <a:extLst>
                <a:ext uri="{FF2B5EF4-FFF2-40B4-BE49-F238E27FC236}">
                  <a16:creationId xmlns:a16="http://schemas.microsoft.com/office/drawing/2014/main" id="{B39E04B8-2D7B-3D29-4E98-B52A8422198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5"/>
              </p:custDataLst>
            </p:nvPr>
          </p:nvSpPr>
          <p:spPr>
            <a:xfrm>
              <a:off x="961969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57F73BB-0D96-868C-B6DF-31C8BFF9CDD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6"/>
              </p:custDataLst>
            </p:nvPr>
          </p:nvSpPr>
          <p:spPr>
            <a:xfrm>
              <a:off x="10545668" y="360000"/>
              <a:ext cx="360000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">
              <a:extLst>
                <a:ext uri="{FF2B5EF4-FFF2-40B4-BE49-F238E27FC236}">
                  <a16:creationId xmlns:a16="http://schemas.microsoft.com/office/drawing/2014/main" id="{59E358A4-588E-380D-4074-1ECEAE2B048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7"/>
              </p:custDataLst>
            </p:nvPr>
          </p:nvSpPr>
          <p:spPr>
            <a:xfrm flipH="1">
              <a:off x="719998" y="360000"/>
              <a:ext cx="10750419" cy="6138000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">
              <a:extLst>
                <a:ext uri="{FF2B5EF4-FFF2-40B4-BE49-F238E27FC236}">
                  <a16:creationId xmlns:a16="http://schemas.microsoft.com/office/drawing/2014/main" id="{42C93750-9336-9995-0708-C3CA5BFDF4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8"/>
              </p:custDataLst>
            </p:nvPr>
          </p:nvSpPr>
          <p:spPr>
            <a:xfrm flipH="1">
              <a:off x="719997" y="2892641"/>
              <a:ext cx="10750418" cy="360001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">
              <a:extLst>
                <a:ext uri="{FF2B5EF4-FFF2-40B4-BE49-F238E27FC236}">
                  <a16:creationId xmlns:a16="http://schemas.microsoft.com/office/drawing/2014/main" id="{AD77FBE1-7B4F-6DC5-006D-3FFAD7BC785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>
              <p:custDataLst>
                <p:tags r:id="rId69"/>
              </p:custDataLst>
            </p:nvPr>
          </p:nvSpPr>
          <p:spPr>
            <a:xfrm flipH="1">
              <a:off x="719994" y="5778862"/>
              <a:ext cx="10750417" cy="719138"/>
            </a:xfrm>
            <a:prstGeom prst="rect">
              <a:avLst/>
            </a:prstGeom>
            <a:noFill/>
            <a:ln w="3175">
              <a:solidFill>
                <a:srgbClr val="FF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da-DK" sz="50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  <p:pic>
        <p:nvPicPr>
          <p:cNvPr id="6" name="Logo">
            <a:extLst>
              <a:ext uri="{FF2B5EF4-FFF2-40B4-BE49-F238E27FC236}">
                <a16:creationId xmlns:a16="http://schemas.microsoft.com/office/drawing/2014/main" id="{B9AAC0B2-884C-AFC2-F539-4C6B8D898F06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rcRect/>
          <a:stretch/>
        </p:blipFill>
        <p:spPr>
          <a:xfrm>
            <a:off x="10227600" y="5958000"/>
            <a:ext cx="1246909" cy="539999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60000"/>
            <a:ext cx="107532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indsætte 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548000"/>
            <a:ext cx="10749600" cy="423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Niveau 1                                                                                                                                                                                 Klik ENTER og derefter TAB for at se næste tekstformat                                                                                                    Klik SHIFT+TAB for at se foregående tekstformat</a:t>
            </a:r>
          </a:p>
          <a:p>
            <a:pPr lvl="1"/>
            <a:r>
              <a:rPr lang="da-DK" noProof="0"/>
              <a:t>Niveau 2</a:t>
            </a:r>
          </a:p>
          <a:p>
            <a:pPr lvl="2"/>
            <a:r>
              <a:rPr lang="da-DK" noProof="0"/>
              <a:t>Niveau 3</a:t>
            </a:r>
          </a:p>
          <a:p>
            <a:pPr lvl="3"/>
            <a:r>
              <a:rPr lang="da-DK" noProof="0"/>
              <a:t>Niveau 4, Overskrift</a:t>
            </a:r>
          </a:p>
          <a:p>
            <a:pPr lvl="4"/>
            <a:r>
              <a:rPr lang="da-DK" noProof="0"/>
              <a:t>Niveau 5, Brødtekst</a:t>
            </a:r>
          </a:p>
          <a:p>
            <a:pPr lvl="5"/>
            <a:r>
              <a:rPr lang="da-DK" noProof="0"/>
              <a:t>Niveau 6</a:t>
            </a:r>
          </a:p>
          <a:p>
            <a:pPr lvl="6"/>
            <a:r>
              <a:rPr lang="da-DK" noProof="0"/>
              <a:t>Niveau 7, lille overskrift</a:t>
            </a:r>
          </a:p>
          <a:p>
            <a:pPr lvl="7"/>
            <a:r>
              <a:rPr lang="da-DK" noProof="0"/>
              <a:t>Niveau 8, lille brødtekst</a:t>
            </a:r>
          </a:p>
          <a:p>
            <a:pPr lvl="8"/>
            <a:r>
              <a:rPr lang="da-DK" noProof="0"/>
              <a:t>Niveau 9, Infografik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9200" y="6318000"/>
            <a:ext cx="150255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dag måned å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1750" y="6318000"/>
            <a:ext cx="334305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 cap="all" baseline="0"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0" y="6318000"/>
            <a:ext cx="33552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 b="1"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24" name="Picture 23" descr="A green logo with a white background" hidden="1">
            <a:extLst>
              <a:ext uri="{FF2B5EF4-FFF2-40B4-BE49-F238E27FC236}">
                <a16:creationId xmlns:a16="http://schemas.microsoft.com/office/drawing/2014/main" id="{E574D5BA-136D-133C-1793-6EF4F7886F0B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743" y="-1348707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801" r:id="rId2"/>
    <p:sldLayoutId id="2147483803" r:id="rId3"/>
    <p:sldLayoutId id="2147483808" r:id="rId4"/>
    <p:sldLayoutId id="2147483809" r:id="rId5"/>
    <p:sldLayoutId id="2147483836" r:id="rId6"/>
    <p:sldLayoutId id="2147483810" r:id="rId7"/>
    <p:sldLayoutId id="2147483804" r:id="rId8"/>
    <p:sldLayoutId id="2147483806" r:id="rId9"/>
    <p:sldLayoutId id="2147483807" r:id="rId10"/>
    <p:sldLayoutId id="2147483805" r:id="rId11"/>
    <p:sldLayoutId id="2147483811" r:id="rId12"/>
    <p:sldLayoutId id="2147483812" r:id="rId13"/>
    <p:sldLayoutId id="2147483731" r:id="rId14"/>
    <p:sldLayoutId id="2147483813" r:id="rId15"/>
    <p:sldLayoutId id="2147483814" r:id="rId16"/>
    <p:sldLayoutId id="2147483756" r:id="rId17"/>
    <p:sldLayoutId id="2147483732" r:id="rId18"/>
    <p:sldLayoutId id="2147483755" r:id="rId19"/>
    <p:sldLayoutId id="2147483815" r:id="rId20"/>
    <p:sldLayoutId id="2147483772" r:id="rId21"/>
    <p:sldLayoutId id="2147483818" r:id="rId22"/>
    <p:sldLayoutId id="2147483817" r:id="rId23"/>
    <p:sldLayoutId id="2147483820" r:id="rId24"/>
    <p:sldLayoutId id="2147483816" r:id="rId25"/>
    <p:sldLayoutId id="2147483819" r:id="rId26"/>
    <p:sldLayoutId id="2147483768" r:id="rId27"/>
    <p:sldLayoutId id="2147483840" r:id="rId28"/>
    <p:sldLayoutId id="2147483837" r:id="rId29"/>
    <p:sldLayoutId id="2147483838" r:id="rId30"/>
    <p:sldLayoutId id="2147483839" r:id="rId31"/>
    <p:sldLayoutId id="2147483841" r:id="rId32"/>
    <p:sldLayoutId id="2147483842" r:id="rId33"/>
    <p:sldLayoutId id="2147483739" r:id="rId34"/>
    <p:sldLayoutId id="2147483822" r:id="rId35"/>
    <p:sldLayoutId id="2147483823" r:id="rId36"/>
    <p:sldLayoutId id="2147483824" r:id="rId37"/>
    <p:sldLayoutId id="2147483825" r:id="rId38"/>
    <p:sldLayoutId id="2147483826" r:id="rId39"/>
    <p:sldLayoutId id="2147483827" r:id="rId40"/>
    <p:sldLayoutId id="2147483828" r:id="rId41"/>
    <p:sldLayoutId id="2147483829" r:id="rId42"/>
    <p:sldLayoutId id="2147483830" r:id="rId43"/>
    <p:sldLayoutId id="2147483765" r:id="rId44"/>
    <p:sldLayoutId id="2147483831" r:id="rId45"/>
    <p:sldLayoutId id="2147483832" r:id="rId46"/>
    <p:sldLayoutId id="2147483833" r:id="rId47"/>
    <p:sldLayoutId id="2147483834" r:id="rId48"/>
    <p:sldLayoutId id="2147483835" r:id="rId49"/>
    <p:sldLayoutId id="2147483743" r:id="rId50"/>
    <p:sldLayoutId id="2147483744" r:id="rId51"/>
    <p:sldLayoutId id="2147483784" r:id="rId52"/>
    <p:sldLayoutId id="2147483753" r:id="rId53"/>
  </p:sldLayoutIdLst>
  <p:hf hdr="0" dt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5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54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0" userDrawn="1">
          <p15:clr>
            <a:srgbClr val="A4A3A4"/>
          </p15:clr>
        </p15:guide>
        <p15:guide id="2" pos="1036" userDrawn="1">
          <p15:clr>
            <a:srgbClr val="A4A3A4"/>
          </p15:clr>
        </p15:guide>
        <p15:guide id="3" orient="horz" pos="226" userDrawn="1">
          <p15:clr>
            <a:srgbClr val="A4A3A4"/>
          </p15:clr>
        </p15:guide>
        <p15:guide id="4" orient="horz" pos="4093" userDrawn="1">
          <p15:clr>
            <a:srgbClr val="A4A3A4"/>
          </p15:clr>
        </p15:guide>
        <p15:guide id="5" pos="1393" userDrawn="1">
          <p15:clr>
            <a:srgbClr val="A4A3A4"/>
          </p15:clr>
        </p15:guide>
        <p15:guide id="6" pos="1620" userDrawn="1">
          <p15:clr>
            <a:srgbClr val="A4A3A4"/>
          </p15:clr>
        </p15:guide>
        <p15:guide id="7" pos="1976" userDrawn="1">
          <p15:clr>
            <a:srgbClr val="A4A3A4"/>
          </p15:clr>
        </p15:guide>
        <p15:guide id="8" pos="2203" userDrawn="1">
          <p15:clr>
            <a:srgbClr val="A4A3A4"/>
          </p15:clr>
        </p15:guide>
        <p15:guide id="9" pos="2559" userDrawn="1">
          <p15:clr>
            <a:srgbClr val="A4A3A4"/>
          </p15:clr>
        </p15:guide>
        <p15:guide id="10" pos="2786" userDrawn="1">
          <p15:clr>
            <a:srgbClr val="A4A3A4"/>
          </p15:clr>
        </p15:guide>
        <p15:guide id="11" pos="3143" userDrawn="1">
          <p15:clr>
            <a:srgbClr val="A4A3A4"/>
          </p15:clr>
        </p15:guide>
        <p15:guide id="12" pos="3369" userDrawn="1">
          <p15:clr>
            <a:srgbClr val="A4A3A4"/>
          </p15:clr>
        </p15:guide>
        <p15:guide id="13" pos="3726" userDrawn="1">
          <p15:clr>
            <a:srgbClr val="A4A3A4"/>
          </p15:clr>
        </p15:guide>
        <p15:guide id="14" pos="3953" userDrawn="1">
          <p15:clr>
            <a:srgbClr val="A4A3A4"/>
          </p15:clr>
        </p15:guide>
        <p15:guide id="15" pos="4309" userDrawn="1">
          <p15:clr>
            <a:srgbClr val="A4A3A4"/>
          </p15:clr>
        </p15:guide>
        <p15:guide id="16" pos="4536" userDrawn="1">
          <p15:clr>
            <a:srgbClr val="A4A3A4"/>
          </p15:clr>
        </p15:guide>
        <p15:guide id="17" pos="4893" userDrawn="1">
          <p15:clr>
            <a:srgbClr val="A4A3A4"/>
          </p15:clr>
        </p15:guide>
        <p15:guide id="18" pos="5119" userDrawn="1">
          <p15:clr>
            <a:srgbClr val="A4A3A4"/>
          </p15:clr>
        </p15:guide>
        <p15:guide id="19" pos="5476" userDrawn="1">
          <p15:clr>
            <a:srgbClr val="A4A3A4"/>
          </p15:clr>
        </p15:guide>
        <p15:guide id="20" pos="5703" userDrawn="1">
          <p15:clr>
            <a:srgbClr val="A4A3A4"/>
          </p15:clr>
        </p15:guide>
        <p15:guide id="21" pos="6059" userDrawn="1">
          <p15:clr>
            <a:srgbClr val="A4A3A4"/>
          </p15:clr>
        </p15:guide>
        <p15:guide id="22" pos="6286" userDrawn="1">
          <p15:clr>
            <a:srgbClr val="A4A3A4"/>
          </p15:clr>
        </p15:guide>
        <p15:guide id="23" pos="6652" userDrawn="1">
          <p15:clr>
            <a:srgbClr val="A4A3A4"/>
          </p15:clr>
        </p15:guide>
        <p15:guide id="24" pos="6869" userDrawn="1">
          <p15:clr>
            <a:srgbClr val="A4A3A4"/>
          </p15:clr>
        </p15:guide>
        <p15:guide id="25" pos="453" userDrawn="1">
          <p15:clr>
            <a:srgbClr val="A4A3A4"/>
          </p15:clr>
        </p15:guide>
        <p15:guide id="26" pos="7219" userDrawn="1">
          <p15:clr>
            <a:srgbClr val="A4A3A4"/>
          </p15:clr>
        </p15:guide>
        <p15:guide id="29" orient="horz" pos="364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45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9" Type="http://schemas.openxmlformats.org/officeDocument/2006/relationships/slideLayout" Target="../slideLayouts/slideLayout17.xml"/><Relationship Id="rId21" Type="http://schemas.openxmlformats.org/officeDocument/2006/relationships/tags" Target="../tags/tag91.xml"/><Relationship Id="rId34" Type="http://schemas.openxmlformats.org/officeDocument/2006/relationships/tags" Target="../tags/tag104.xml"/><Relationship Id="rId42" Type="http://schemas.openxmlformats.org/officeDocument/2006/relationships/image" Target="../media/image45.emf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9" Type="http://schemas.openxmlformats.org/officeDocument/2006/relationships/tags" Target="../tags/tag99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notesSlide" Target="../notesSlides/notesSlide1.xml"/><Relationship Id="rId45" Type="http://schemas.openxmlformats.org/officeDocument/2006/relationships/image" Target="../media/image7.svg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tags" Target="../tags/tag101.xml"/><Relationship Id="rId44" Type="http://schemas.openxmlformats.org/officeDocument/2006/relationships/image" Target="../media/image6.png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chart" Target="../charts/chart1.xml"/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20" Type="http://schemas.openxmlformats.org/officeDocument/2006/relationships/tags" Target="../tags/tag90.xml"/><Relationship Id="rId41" Type="http://schemas.openxmlformats.org/officeDocument/2006/relationships/oleObject" Target="../embeddings/oleObject56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9" Type="http://schemas.openxmlformats.org/officeDocument/2006/relationships/image" Target="../media/image46.emf"/><Relationship Id="rId21" Type="http://schemas.openxmlformats.org/officeDocument/2006/relationships/tags" Target="../tags/tag129.xml"/><Relationship Id="rId34" Type="http://schemas.openxmlformats.org/officeDocument/2006/relationships/tags" Target="../tags/tag142.xml"/><Relationship Id="rId42" Type="http://schemas.openxmlformats.org/officeDocument/2006/relationships/image" Target="../media/image7.svg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29" Type="http://schemas.openxmlformats.org/officeDocument/2006/relationships/tags" Target="../tags/tag137.xml"/><Relationship Id="rId41" Type="http://schemas.openxmlformats.org/officeDocument/2006/relationships/image" Target="../media/image6.png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32" Type="http://schemas.openxmlformats.org/officeDocument/2006/relationships/tags" Target="../tags/tag140.xml"/><Relationship Id="rId37" Type="http://schemas.openxmlformats.org/officeDocument/2006/relationships/notesSlide" Target="../notesSlides/notesSlide2.xml"/><Relationship Id="rId40" Type="http://schemas.openxmlformats.org/officeDocument/2006/relationships/chart" Target="../charts/chart2.xml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36" Type="http://schemas.openxmlformats.org/officeDocument/2006/relationships/slideLayout" Target="../slideLayouts/slideLayout18.xml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31" Type="http://schemas.openxmlformats.org/officeDocument/2006/relationships/tags" Target="../tags/tag139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33" Type="http://schemas.openxmlformats.org/officeDocument/2006/relationships/tags" Target="../tags/tag141.xml"/><Relationship Id="rId38" Type="http://schemas.openxmlformats.org/officeDocument/2006/relationships/oleObject" Target="../embeddings/oleObject5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image" Target="../media/image6.png"/><Relationship Id="rId3" Type="http://schemas.openxmlformats.org/officeDocument/2006/relationships/tags" Target="../tags/tag146.xml"/><Relationship Id="rId21" Type="http://schemas.openxmlformats.org/officeDocument/2006/relationships/slideLayout" Target="../slideLayouts/slideLayout18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chart" Target="../charts/chart3.xml"/><Relationship Id="rId2" Type="http://schemas.openxmlformats.org/officeDocument/2006/relationships/tags" Target="../tags/tag145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24" Type="http://schemas.openxmlformats.org/officeDocument/2006/relationships/image" Target="../media/image46.emf"/><Relationship Id="rId5" Type="http://schemas.openxmlformats.org/officeDocument/2006/relationships/tags" Target="../tags/tag148.xml"/><Relationship Id="rId15" Type="http://schemas.openxmlformats.org/officeDocument/2006/relationships/tags" Target="../tags/tag158.xml"/><Relationship Id="rId23" Type="http://schemas.openxmlformats.org/officeDocument/2006/relationships/oleObject" Target="../embeddings/oleObject58.bin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notesSlide" Target="../notesSlides/notesSlide3.xml"/><Relationship Id="rId27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7.svg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image" Target="../media/image6.png"/><Relationship Id="rId2" Type="http://schemas.openxmlformats.org/officeDocument/2006/relationships/tags" Target="../tags/tag165.xml"/><Relationship Id="rId16" Type="http://schemas.openxmlformats.org/officeDocument/2006/relationships/image" Target="../media/image46.emf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oleObject" Target="../embeddings/oleObject59.bin"/><Relationship Id="rId10" Type="http://schemas.openxmlformats.org/officeDocument/2006/relationships/tags" Target="../tags/tag173.xml"/><Relationship Id="rId19" Type="http://schemas.openxmlformats.org/officeDocument/2006/relationships/chart" Target="../charts/chart4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chart" Target="../charts/chart5.xml"/><Relationship Id="rId3" Type="http://schemas.openxmlformats.org/officeDocument/2006/relationships/tags" Target="../tags/tag178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7.sv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image" Target="../media/image6.png"/><Relationship Id="rId5" Type="http://schemas.openxmlformats.org/officeDocument/2006/relationships/tags" Target="../tags/tag180.xml"/><Relationship Id="rId10" Type="http://schemas.openxmlformats.org/officeDocument/2006/relationships/image" Target="../media/image45.emf"/><Relationship Id="rId4" Type="http://schemas.openxmlformats.org/officeDocument/2006/relationships/tags" Target="../tags/tag179.xml"/><Relationship Id="rId9" Type="http://schemas.openxmlformats.org/officeDocument/2006/relationships/oleObject" Target="../embeddings/oleObject6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image" Target="../media/image6.png"/><Relationship Id="rId3" Type="http://schemas.openxmlformats.org/officeDocument/2006/relationships/tags" Target="../tags/tag184.xml"/><Relationship Id="rId7" Type="http://schemas.openxmlformats.org/officeDocument/2006/relationships/slideLayout" Target="../slideLayouts/slideLayout17.xml"/><Relationship Id="rId12" Type="http://schemas.openxmlformats.org/officeDocument/2006/relationships/chart" Target="../charts/chart6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image" Target="../media/image47.png"/><Relationship Id="rId5" Type="http://schemas.openxmlformats.org/officeDocument/2006/relationships/tags" Target="../tags/tag186.xml"/><Relationship Id="rId10" Type="http://schemas.openxmlformats.org/officeDocument/2006/relationships/image" Target="../media/image45.emf"/><Relationship Id="rId4" Type="http://schemas.openxmlformats.org/officeDocument/2006/relationships/tags" Target="../tags/tag185.xml"/><Relationship Id="rId9" Type="http://schemas.openxmlformats.org/officeDocument/2006/relationships/oleObject" Target="../embeddings/oleObject61.bin"/><Relationship Id="rId14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chart" Target="../charts/chart7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6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90.xml"/><Relationship Id="rId4" Type="http://schemas.openxmlformats.org/officeDocument/2006/relationships/image" Target="../media/image4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B3EA032-6D72-831B-415B-47D52C10DC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629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3EA032-6D72-831B-415B-47D52C10D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61FCBEC4-ECB0-E1A9-696B-46AF2CBC2C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1</a:t>
            </a:fld>
            <a:endParaRPr lang="da-DK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0E9618-7A05-F5DA-981D-A8E36AC6383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The </a:t>
            </a:r>
            <a:r>
              <a:rPr lang="da-DK" dirty="0" err="1"/>
              <a:t>advantages</a:t>
            </a:r>
            <a:r>
              <a:rPr lang="da-DK" dirty="0"/>
              <a:t> of </a:t>
            </a:r>
            <a:r>
              <a:rPr lang="da-DK" dirty="0" err="1"/>
              <a:t>electrification</a:t>
            </a:r>
            <a:r>
              <a:rPr lang="da-DK" dirty="0"/>
              <a:t> </a:t>
            </a:r>
            <a:r>
              <a:rPr lang="da-DK" b="0" dirty="0"/>
              <a:t>for </a:t>
            </a:r>
            <a:r>
              <a:rPr lang="da-DK" b="0" dirty="0" err="1"/>
              <a:t>citizens</a:t>
            </a:r>
            <a:r>
              <a:rPr lang="da-DK" b="0" dirty="0"/>
              <a:t> and </a:t>
            </a:r>
            <a:r>
              <a:rPr lang="da-DK" b="0" dirty="0" err="1"/>
              <a:t>sovereinity</a:t>
            </a:r>
            <a:endParaRPr lang="da-DK" b="0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F7FF057-B17F-1A91-E2FA-C176809957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dirty="0"/>
              <a:t>Kristian Jens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02D1A33-BF09-B735-3DBB-0D57CFDD00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dirty="0"/>
              <a:t>Green Power Denmark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04A2AC54-4449-C744-0EFB-94BD52B9E07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 dirty="0"/>
              <a:t>17-10-2025</a:t>
            </a: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3C5D021-BD52-EC4A-2374-69D4CD0415B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15621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D0BA0-469A-B97E-2BB0-BE6303C4A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4A8A0A-01E5-A7A2-7DCB-F33355DE3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785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59" imgH="360" progId="TCLayout.ActiveDocument.1">
                  <p:embed/>
                </p:oleObj>
              </mc:Choice>
              <mc:Fallback>
                <p:oleObj name="think-cell Slide" r:id="rId41" imgW="359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A8A0A-01E5-A7A2-7DCB-F33355DE3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DB6C7D-C97B-9CBB-D20A-B23F6542C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Natural gas covers </a:t>
            </a:r>
            <a:r>
              <a:rPr lang="da-DK" dirty="0" err="1"/>
              <a:t>around</a:t>
            </a:r>
            <a:r>
              <a:rPr lang="da-DK" dirty="0"/>
              <a:t> 20 percent of EU’s </a:t>
            </a:r>
            <a:r>
              <a:rPr lang="da-DK" dirty="0" err="1"/>
              <a:t>energy</a:t>
            </a:r>
            <a:r>
              <a:rPr lang="da-DK" dirty="0"/>
              <a:t> </a:t>
            </a:r>
            <a:r>
              <a:rPr lang="da-DK" dirty="0" err="1"/>
              <a:t>consumption</a:t>
            </a:r>
            <a:endParaRPr lang="da-DK" dirty="0"/>
          </a:p>
        </p:txBody>
      </p: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3DA46FCA-E30E-253F-4688-5DD556F3BEA4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ktangel 32">
            <a:extLst>
              <a:ext uri="{FF2B5EF4-FFF2-40B4-BE49-F238E27FC236}">
                <a16:creationId xmlns:a16="http://schemas.microsoft.com/office/drawing/2014/main" id="{33321C6F-8DC0-3562-C40F-02FBCE98EE21}"/>
              </a:ext>
            </a:extLst>
          </p:cNvPr>
          <p:cNvSpPr/>
          <p:nvPr/>
        </p:nvSpPr>
        <p:spPr>
          <a:xfrm>
            <a:off x="737799" y="1178935"/>
            <a:ext cx="7286528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300"/>
              </a:spcBef>
            </a:pPr>
            <a:r>
              <a:rPr lang="en-US" sz="1100" b="1" dirty="0">
                <a:solidFill>
                  <a:schemeClr val="accent1"/>
                </a:solidFill>
              </a:rPr>
              <a:t>EU Total Energy Consumption</a:t>
            </a:r>
            <a:br>
              <a:rPr lang="da-DK" sz="1050" noProof="0" dirty="0">
                <a:solidFill>
                  <a:schemeClr val="accent1"/>
                </a:solidFill>
              </a:rPr>
            </a:br>
            <a:r>
              <a:rPr lang="da-DK" sz="1000" noProof="0" dirty="0">
                <a:solidFill>
                  <a:schemeClr val="accent1"/>
                </a:solidFill>
              </a:rPr>
              <a:t>(1.000) Petajoule</a:t>
            </a:r>
            <a:endParaRPr lang="da-DK" sz="1050" noProof="0" dirty="0">
              <a:solidFill>
                <a:schemeClr val="accent1"/>
              </a:solidFill>
            </a:endParaRPr>
          </a:p>
        </p:txBody>
      </p:sp>
      <p:sp>
        <p:nvSpPr>
          <p:cNvPr id="36" name="Pladsholder til tekst 4">
            <a:extLst>
              <a:ext uri="{FF2B5EF4-FFF2-40B4-BE49-F238E27FC236}">
                <a16:creationId xmlns:a16="http://schemas.microsoft.com/office/drawing/2014/main" id="{13277878-D637-C5B9-6697-3FE651A287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0000" y="5849199"/>
            <a:ext cx="9187480" cy="36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Source: </a:t>
            </a:r>
            <a:r>
              <a:rPr kumimoji="0" lang="da-DK" sz="800" b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Eurostat</a:t>
            </a:r>
            <a:endParaRPr lang="da-DK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71" name="Lige forbindelse 170">
            <a:extLst>
              <a:ext uri="{FF2B5EF4-FFF2-40B4-BE49-F238E27FC236}">
                <a16:creationId xmlns:a16="http://schemas.microsoft.com/office/drawing/2014/main" id="{24A977C7-F7DC-9641-1758-922ACF2261F3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9" name="Chart 3">
            <a:extLst>
              <a:ext uri="{FF2B5EF4-FFF2-40B4-BE49-F238E27FC236}">
                <a16:creationId xmlns:a16="http://schemas.microsoft.com/office/drawing/2014/main" id="{17F2F85C-3B53-2DCA-892E-96652528AF6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111139"/>
              </p:ext>
            </p:extLst>
          </p:nvPr>
        </p:nvGraphicFramePr>
        <p:xfrm>
          <a:off x="622300" y="2003425"/>
          <a:ext cx="8374063" cy="328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75B2C5A-AFC7-2063-1090-579B8B5A021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04875" y="2816225"/>
            <a:ext cx="4206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511AFE-F29D-4099-978D-234C93EF792F}" type="datetime'''''''''''''''''1''''''''''''''''''2''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EB996B40-5C2B-49A1-BFBD-8636B69A930F}" type="datetime'''''''''1''9''''''''''''''''%''''''''''''''''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FD388E7-780E-4942-67E9-E742074BCD5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36625" y="5076825"/>
            <a:ext cx="357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0D2EF8-4FEE-47E4-8B5F-0DC6A4F8BE4B}" type="datetime'20''''''1''4'''''''''''''''''''''''''''''''">
              <a:rPr lang="da-DK" altLang="en-US" sz="1200" smtClean="0"/>
              <a:pPr/>
              <a:t>2014</a:t>
            </a:fld>
            <a:endParaRPr lang="da-DK" sz="1200" noProof="0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7EBAD6AE-2398-C342-BF75-5CFC967F8AC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704975" y="2803525"/>
            <a:ext cx="4619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E34853-BF66-46A4-9299-34DF47BE3968}" type="datetime'''''''''''''''''''''''''''1''''''''''''''''''2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C1191F74-0557-47D2-A01C-C10AD216D75E}" type="datetime'''2''''''''''''''''0''''''%''''''''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49606E4-6180-1221-622B-12AC157C97C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63713" y="5076825"/>
            <a:ext cx="342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6A52F3-E515-4220-AA5D-F81D33AD9FD2}" type="datetime'''''''20''''''''''''''''''''15'''''''''''''''''''''">
              <a:rPr lang="da-DK" altLang="en-US" sz="1200" smtClean="0"/>
              <a:pPr/>
              <a:t>2015</a:t>
            </a:fld>
            <a:endParaRPr lang="da-DK" sz="1200" noProof="0" dirty="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AB5BA944-BEDF-C53F-72E5-EF7287B1815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47938" y="2800350"/>
            <a:ext cx="4159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7B376D-5BAE-47D5-BFEC-CAC5CEBBB3E8}" type="datetime'''''''''''''''''''''''''''''''''''''''''''''''''''1''''''''3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8FA788DE-E49D-4FEF-9F30-7D02B24DA93B}" type="datetime'''''''''2''''''''1''''''''''''''''''''''''''''%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125022B-3A9E-0BA7-90BF-060C1990D9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81275" y="5076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C36F4B-6A1D-4931-90AD-C635995029C0}" type="datetime'2''''''''''''''''''''''''0''''1''6'''''''''''''''">
              <a:rPr lang="da-DK" altLang="en-US" sz="1200" smtClean="0"/>
              <a:pPr/>
              <a:t>2016</a:t>
            </a:fld>
            <a:endParaRPr lang="da-DK" sz="1200" noProof="0" dirty="0"/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DDDAF2DF-23A8-2BFC-947F-3A3ADACE1AC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52800" y="2773363"/>
            <a:ext cx="4476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5AD7C2-8B0A-448D-B60E-FF041ACD05D7}" type="datetime'''''''''''''''''1''''''''''''''4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D22AA084-5838-4341-961C-361EAB2552A0}" type="datetime'''''2''''''''''''''''''''''''''''''''''''''''''''2''''%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A0B09974-2954-7015-6908-EED2FB5DD46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03600" y="507682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A4A0DB-80AC-4E7E-98C6-BA0A22C66FE3}" type="datetime'''2''''''''''0''''''''1''''''''7'''''">
              <a:rPr lang="da-DK" altLang="en-US" sz="1200" smtClean="0"/>
              <a:pPr/>
              <a:t>2017</a:t>
            </a:fld>
            <a:endParaRPr lang="da-DK" sz="1200" noProof="0" dirty="0"/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31CF5FA7-68BA-1D56-7DA7-FA6685E5AA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91000" y="2800350"/>
            <a:ext cx="4159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69760A-90C2-4241-A429-BE0801B6FE52}" type="datetime'''''''1''''''''''''''''''4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8007BE79-6837-4A78-B0A2-A279F7376B42}" type="datetime'''''''''''''2''''''''1''''''''''''''''''''''''''''%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D5907FC8-D7F5-2866-1596-CAD70ACD301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22750" y="5076825"/>
            <a:ext cx="354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32619F-0DF4-4350-8113-31DB99F6ED04}" type="datetime'''''''''''''''2''''''''''''0''''1''8'''''''''''''''''''''''">
              <a:rPr lang="da-DK" altLang="en-US" sz="1200" smtClean="0"/>
              <a:pPr/>
              <a:t>2018</a:t>
            </a:fld>
            <a:endParaRPr lang="da-DK" sz="1200" noProof="0" dirty="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E0A64A22-3F1A-D4FC-CB6A-CE045AB1473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995863" y="2863850"/>
            <a:ext cx="4476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2174AD-BF66-4E64-80D4-6736D207FC86}" type="datetime'''''''1''''''4''''''''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FE5E2181-D209-4F8C-871B-DB42E0FB7D36}" type="datetime'''''''''''''''2''''2''''''''''''''%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923C8AEC-6FA5-26B3-5E1A-5953B0D6B5D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45075" y="5076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BF1D98-EC3D-43A6-8E3B-28C3A97A057E}" type="datetime'''''20''''''''''1''''''''''''''''''''''9'''''''">
              <a:rPr lang="da-DK" altLang="en-US" sz="1200" smtClean="0"/>
              <a:pPr/>
              <a:t>2019</a:t>
            </a:fld>
            <a:endParaRPr lang="da-DK" sz="1200" noProof="0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B8B2B29F-5407-E449-ABAC-7AD838F5F12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10250" y="3090863"/>
            <a:ext cx="460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A99AB8-33B5-4449-BC00-0951592278D6}" type="datetime'''''1''''4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A4F0593C-549E-4802-B977-0EA7E36066B3}" type="datetime'''''''24''%''''''''''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6BB76537-A6A6-7D0C-0468-41B16A8666F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45175" y="5076825"/>
            <a:ext cx="390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003987-67F1-454B-AB39-301431F24EE8}" type="datetime'''''''''''''''''''''''''''''''''''2''0''2''''''''''''''''''0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7420E386-8402-95A2-C6C3-26EEAA5D509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38925" y="2974975"/>
            <a:ext cx="4460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1853A0-041A-45A4-B1E9-245A7F0625D4}" type="datetime'''''''''''''''''''''1''''''''''4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EF1F215D-32D3-40A4-B982-1DC1B1CEA320}" type="datetime'''''''''''''''2''''''''''''''''''3''''%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C0E94D67-F2A1-7C24-A79B-7EF31C9BE46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89725" y="5076825"/>
            <a:ext cx="344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799050-9A97-4F16-8893-39305315C194}" type="datetime'2''''0''''''''''2''1'''''''''''''''''''''''''''''''''">
              <a:rPr lang="da-DK" altLang="en-US" sz="1200" smtClean="0"/>
              <a:pPr/>
              <a:t>2021</a:t>
            </a:fld>
            <a:endParaRPr lang="da-DK" sz="1200" noProof="0" dirty="0"/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1752BBE8-EDD3-839B-62D6-D8032D33E75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473950" y="3046413"/>
            <a:ext cx="4159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39EE35-DEF6-44B5-9310-D95751682F1B}" type="datetime'''''''''''''''''''''''''''1''''''''''''''2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br>
              <a:rPr lang="da-DK" altLang="en-US" sz="1200">
                <a:effectLst/>
              </a:rPr>
            </a:br>
            <a:r>
              <a:rPr lang="da-DK" altLang="en-US" sz="1200">
                <a:effectLst/>
              </a:rPr>
              <a:t>(</a:t>
            </a:r>
            <a:fld id="{10FF5788-E1A2-401D-965B-A30736C962F8}" type="datetime'''''''''2''''''''''''''''''''''''''''''''''1''''%'''''''''''''">
              <a:rPr lang="da-DK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r>
              <a:rPr lang="da-DK" sz="1200" noProof="0"/>
              <a:t>)</a:t>
            </a:r>
            <a:endParaRPr lang="da-DK" sz="1200" noProof="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5BE7EDD-3B0B-D00F-125C-A30360644CE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94588" y="5076825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C83B11-84D7-4127-AC98-7891A971306D}" type="datetime'''''''''''''''''2''''0''''2''2'''''''">
              <a:rPr lang="da-DK" altLang="en-US" sz="1200" smtClean="0"/>
              <a:pPr/>
              <a:t>2022</a:t>
            </a:fld>
            <a:endParaRPr lang="da-DK" sz="1200" noProof="0" dirty="0"/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71A95DD5-F774-4B49-0B4B-567BBEDB87F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72463" y="3151188"/>
            <a:ext cx="4619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EC74DA-1B1A-4433-9B8C-CF9EB828782B}" type="datetime'''''''''''''''1''''''''1'''''''''''''''''''''''''''''''''''''">
              <a:rPr lang="da-DK" altLang="en-US" sz="1200" smtClean="0"/>
              <a:pPr/>
              <a:t>11</a:t>
            </a:fld>
            <a:br>
              <a:rPr lang="da-DK" altLang="en-US" sz="1200" dirty="0">
                <a:effectLst/>
              </a:rPr>
            </a:br>
            <a:r>
              <a:rPr lang="da-DK" altLang="en-US" sz="1200" dirty="0">
                <a:effectLst/>
              </a:rPr>
              <a:t>(</a:t>
            </a:r>
            <a:fld id="{76B3AF54-2AB5-4630-8EE1-D3E801F51D23}" type="datetime'''2''''''''0''''''''''''''''''''''''''%'''">
              <a:rPr lang="da-DK" altLang="en-US" sz="1200" smtClean="0"/>
              <a:pPr/>
              <a:t>20%</a:t>
            </a:fld>
            <a:r>
              <a:rPr lang="da-DK" altLang="en-US" sz="1200" dirty="0">
                <a:effectLst/>
              </a:rPr>
              <a:t>)</a:t>
            </a:r>
            <a:endParaRPr lang="da-DK" sz="1200" noProof="0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741A2CFA-6025-AF96-7D7F-5C74540DA85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15325" y="5076825"/>
            <a:ext cx="374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DEB183-0EC9-4539-913E-4559DDABB36B}" type="datetime'''''''''''''''''''''20''''''''2''''''''''''''3'''''''''">
              <a:rPr lang="da-DK" altLang="en-US" sz="1200" smtClean="0"/>
              <a:pPr/>
              <a:t>2023</a:t>
            </a:fld>
            <a:endParaRPr lang="da-DK" sz="1200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33410DD-D349-664F-6DDC-6E7C142C45D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19175" y="2179638"/>
            <a:ext cx="192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5A4AF4-868B-4170-9037-0BF56EC2FC8D}" type="datetime'''''''''''''''''''''''''''''''''''''''''''6''''''''''1'''''''">
              <a:rPr lang="da-DK" altLang="en-US" sz="1200" smtClean="0"/>
              <a:pPr/>
              <a:t>61</a:t>
            </a:fld>
            <a:endParaRPr lang="da-DK" sz="1200" noProof="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D149CF4-DF38-2982-0F48-B836891BA86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824038" y="2144713"/>
            <a:ext cx="223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37E805-6080-4575-8B53-EC99E67BD96E}" type="datetime'''''''''''''6''''''''''2'''''''''''''''''''''''''''''''''''''">
              <a:rPr lang="da-DK" altLang="en-US" sz="1200" smtClean="0"/>
              <a:pPr/>
              <a:t>62</a:t>
            </a:fld>
            <a:endParaRPr lang="da-DK" sz="1200" noProof="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1E3FC32-F574-D258-367A-1DDEB51D9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644775" y="2119313"/>
            <a:ext cx="222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13DE2A-EA35-4319-9F79-15B6BA286002}" type="datetime'''''''''''''''''''''''''''''63'''''''''''''''''''''''''''">
              <a:rPr lang="da-DK" altLang="en-US" sz="1200" smtClean="0"/>
              <a:pPr/>
              <a:t>63</a:t>
            </a:fld>
            <a:endParaRPr lang="da-DK" sz="1200" noProof="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A84803C5-9B9B-395A-AEFF-88858787D3F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459163" y="2062163"/>
            <a:ext cx="236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A8D3DC-D1FC-43EB-AE1F-9B200566E2B1}" type="datetime'''''''''''''6''''''''''''''''''''4'''''''''">
              <a:rPr lang="da-DK" altLang="en-US" sz="1200" smtClean="0"/>
              <a:pPr/>
              <a:t>64</a:t>
            </a:fld>
            <a:endParaRPr lang="da-DK" sz="1200" noProof="0" dirty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C725E493-F1F2-5E02-7301-9763EFF6B68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281488" y="2078038"/>
            <a:ext cx="236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9CD439-7547-4C58-930C-7350E3247595}" type="datetime'''''64'''''''''''''''''''''''''''''''''''''''''''''''''''''''">
              <a:rPr lang="da-DK" altLang="en-US" sz="1200" smtClean="0"/>
              <a:pPr/>
              <a:t>64</a:t>
            </a:fld>
            <a:endParaRPr lang="da-DK" sz="1200" noProof="0" dirty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F99FE31-AD0A-0A86-8606-1134FA8AA46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108575" y="2120900"/>
            <a:ext cx="222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76921C-F87F-4150-BC27-FC9834C106D4}" type="datetime'''''''''''''''''''6''''''''''''3'''''''''''">
              <a:rPr lang="da-DK" altLang="en-US" sz="1200" smtClean="0"/>
              <a:pPr/>
              <a:t>63</a:t>
            </a:fld>
            <a:endParaRPr lang="da-DK" sz="1200" noProof="0" dirty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1AF2859A-8EEC-733F-9246-E64F3B9FAEB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927725" y="2341563"/>
            <a:ext cx="227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9B165B-C1A3-451A-A69C-F45DE76B4DE5}" type="datetime'''''''''''''58'''''">
              <a:rPr lang="da-DK" altLang="en-US" sz="1200" smtClean="0"/>
              <a:pPr/>
              <a:t>58</a:t>
            </a:fld>
            <a:endParaRPr lang="da-DK" sz="1200" noProof="0" dirty="0"/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433B6B97-E12C-D6FD-4391-DB56C5D6628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65925" y="2190750"/>
            <a:ext cx="192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AA93AE-34A0-4451-B48A-7654DCCA9E9A}" type="datetime'''''6''''''''''''''''''''1'''''''''''''''''''''''''">
              <a:rPr lang="da-DK" altLang="en-US" sz="1200" smtClean="0"/>
              <a:pPr/>
              <a:t>61</a:t>
            </a:fld>
            <a:endParaRPr lang="da-DK" sz="1200" noProof="0" dirty="0"/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5B43F6A6-075C-0402-3BF9-212673E090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569200" y="2309813"/>
            <a:ext cx="227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74E0F3-3D2B-484A-99BF-7AD5D5DC4EC4}" type="datetime'''''''''''''''''''''''''58'''''''''''''''''''''''''">
              <a:rPr lang="da-DK" altLang="en-US" sz="1200" smtClean="0"/>
              <a:pPr/>
              <a:t>58</a:t>
            </a:fld>
            <a:endParaRPr lang="da-DK" sz="1200" noProof="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E598A3CD-F9A8-3688-D57A-BA5EE3BCA3D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391525" y="2413000"/>
            <a:ext cx="222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46215F-509F-4201-B03B-9054B400C7F9}" type="datetime'''''56'">
              <a:rPr lang="da-DK" altLang="en-US" sz="1200" smtClean="0"/>
              <a:pPr/>
              <a:t>56</a:t>
            </a:fld>
            <a:endParaRPr lang="da-DK" sz="12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C88F19F6-CFDA-8F8A-6EF9-A47F48650E4A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194050" y="5459413"/>
            <a:ext cx="214313" cy="1603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06BF314B-B472-7C35-7AA6-CF24745CF876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460875" y="5459413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0365B408-9375-A35E-35E0-1E586809D83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745163" y="54594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EB9DC6C-D1D1-52F1-2D26-021D6F23829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59163" y="5454650"/>
            <a:ext cx="900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C86F620-878B-4313-8DC0-02984158EF69}" type="datetime'''''''''O''''t''''''h''''''''e''''''r ''''''''ty''pes'''">
              <a:rPr lang="da-DK" altLang="en-US" sz="1200" smtClean="0"/>
              <a:pPr/>
              <a:t>Other types</a:t>
            </a:fld>
            <a:endParaRPr lang="da-DK" sz="1200" noProof="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F43574A-D295-00C5-3C0F-FF44C6AA2DB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25988" y="5454650"/>
            <a:ext cx="917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20F660-5E60-4DBE-8D30-19CDC348057B}" type="datetime'Na''tu''''''r''a''''''''l'''' ''''''''''''''ga''''''''s'">
              <a:rPr lang="da-DK" altLang="en-US" sz="1200" b="1" smtClean="0"/>
              <a:pPr/>
              <a:t>Natural gas</a:t>
            </a:fld>
            <a:endParaRPr lang="da-DK" sz="1200" b="1" noProof="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4E5E7086-9884-294E-9360-8B0F3F21BB6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010275" y="5454650"/>
            <a:ext cx="931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4">
                  <a:extLst>
                    <a:ext uri="{96DAC541-7B7A-43D3-8B79-37D633B846F1}">
                      <asvg:svgBlip xmlns:asvg="http://schemas.microsoft.com/office/drawing/2016/SVG/main" r:embed="rId45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F4069F1-030E-477E-BF41-35B355678BD6}" type="datetime'''''Re''n''''''''''''''ew''''''''''''''ab''''''''''les'''''">
              <a:rPr lang="da-DK" altLang="en-US" sz="1200" smtClean="0"/>
              <a:pPr/>
              <a:t>Renewables</a:t>
            </a:fld>
            <a:endParaRPr lang="da-DK" sz="1200" noProof="0" dirty="0"/>
          </a:p>
        </p:txBody>
      </p:sp>
      <p:sp>
        <p:nvSpPr>
          <p:cNvPr id="239" name="Tekstfelt 238">
            <a:extLst>
              <a:ext uri="{FF2B5EF4-FFF2-40B4-BE49-F238E27FC236}">
                <a16:creationId xmlns:a16="http://schemas.microsoft.com/office/drawing/2014/main" id="{1406D689-B592-BCEF-E79A-32BCB0335680}"/>
              </a:ext>
            </a:extLst>
          </p:cNvPr>
          <p:cNvSpPr txBox="1"/>
          <p:nvPr/>
        </p:nvSpPr>
        <p:spPr>
          <a:xfrm>
            <a:off x="9178926" y="1388449"/>
            <a:ext cx="2400301" cy="4308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a-DK" sz="1100" b="1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a-DK" b="1" noProof="0" dirty="0">
                <a:solidFill>
                  <a:schemeClr val="accent1"/>
                </a:solidFill>
              </a:rPr>
              <a:t>2014</a:t>
            </a:r>
          </a:p>
          <a:p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tural gas accounts for approx.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9</a:t>
            </a:r>
            <a:r>
              <a:rPr lang="en-US" b="1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%</a:t>
            </a:r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total EU energy consumption</a:t>
            </a:r>
            <a:endParaRPr lang="da-DK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a-DK" b="1" noProof="0" dirty="0">
                <a:solidFill>
                  <a:schemeClr val="accent1"/>
                </a:solidFill>
              </a:rPr>
              <a:t>2023</a:t>
            </a:r>
            <a:endParaRPr lang="da-DK" noProof="0" dirty="0">
              <a:solidFill>
                <a:schemeClr val="accent1"/>
              </a:solidFill>
            </a:endParaRP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tural gas accounts for approx.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total EU energy consumption</a:t>
            </a:r>
            <a:endParaRPr lang="da-DK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095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B03C8-A3A5-F643-BF69-E3FEEA002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C2AE165-7BBF-A5A2-9F01-4FD8CDE6FB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262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38" imgH="338" progId="TCLayout.ActiveDocument.1">
                  <p:embed/>
                </p:oleObj>
              </mc:Choice>
              <mc:Fallback>
                <p:oleObj name="think-cell Slide" r:id="rId38" imgW="338" imgH="33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2AE165-7BBF-A5A2-9F01-4FD8CDE6F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A9FB4848-C132-3E7D-F1FE-26953EDC66B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335840"/>
              </p:ext>
            </p:extLst>
          </p:nvPr>
        </p:nvGraphicFramePr>
        <p:xfrm>
          <a:off x="846138" y="2068513"/>
          <a:ext cx="7853362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78C73D1-1499-B379-E226-A9CED564521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776413" y="4433888"/>
            <a:ext cx="344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7FD3CD-7DB1-4C70-ACBD-A4BC0724DCDF}" type="datetime'''''''''''''''''''''5''''2''%'''">
              <a:rPr lang="da-DK" sz="1200" noProof="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%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1339EB5-DDA0-8A1F-C334-CDFDE12D00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776413" y="3859213"/>
            <a:ext cx="271463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647842-CB9A-419F-9EC4-C5E72C557D92}" type="datetime'''''''''''4''''%'''''''''''''''''''''''">
              <a:rPr lang="da-DK" sz="1200" noProof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da-DK" sz="1200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C343107-6620-DD91-B597-040EAF0EF5D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776413" y="3492500"/>
            <a:ext cx="344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A68CAE-AECC-4910-9AA5-4387A6F4FC2E}" type="datetime'''''''''''''''3''''''''''''''2''''''%'''''''''''''''''''''''''">
              <a:rPr lang="da-DK" sz="1200" noProof="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C80DD24-8D6D-4B8E-5365-168809488FF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76413" y="3140075"/>
            <a:ext cx="257175" cy="1825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B20803-67FA-41DD-9168-FA9132EB6F38}" type="datetime'''''''''''3''''%'''''">
              <a:rPr lang="da-DK" sz="1200" noProof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da-DK" sz="1200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5095CFC-87BC-5EEC-9557-8D8ED81441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76413" y="3021013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E19153-280C-4F17-BBE7-058E9247DF97}" type="datetime'''''''''''''''''''''''''9''''''''%''''''''''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da-DK" sz="1200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5E7608-96BE-9131-7D3A-07BE1978D49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60513" y="5105400"/>
            <a:ext cx="357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132A51-14FF-4DCB-9BB5-3BDCBF6D4149}" type="datetime'''''''''2''''''''''''0''''''''''''''1''''''''''''''''4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da-DK" sz="1200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9BB0F37-349D-2671-3123-F0FACDDEDFA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30450" y="5105400"/>
            <a:ext cx="342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FB0AF8-6A6B-4B1C-B209-A93AE0F137BD}" type="datetime'''''''''2''''''''0''''''''''''''''''''1''''''''5''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da-DK" sz="1200" noProof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B813B93-F052-1807-4539-AA572936580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92450" y="51054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B395F1-E2AE-48F3-9B10-7D94CFBCF377}" type="datetime'''''2''''''''0''''''''''1''''''6''''''''''''''''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da-DK" sz="1200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3DA71BF-8E30-C353-6CA1-FA1B1EF8CC9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857625" y="510540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011BF5-ECC0-4C97-8CC2-5397D10D7CFE}" type="datetime'2''''''0''''1''''''''7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da-DK" sz="1200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B1B0ADD-144A-09CF-87F3-71B9AD9CC1D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19625" y="5105400"/>
            <a:ext cx="354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546D5F-944C-49F4-9E7D-ACAB85D967FA}" type="datetime'2''''''0''''''''''''''''''''''''18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da-DK" sz="1200" noProof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2CF003F-C55B-111E-565C-FBBD75BA625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84800" y="51054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A797AE-047E-459C-AB00-B33FA9AB4167}" type="datetime'''''''''''''''''''''''''''''''''''''2''0''1''''''9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da-DK" sz="1200" noProof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07B8650-1268-1EF7-5838-0DD510DA850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29338" y="5105400"/>
            <a:ext cx="390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082426-210D-4F1C-BAD7-9A450DF1D41B}" type="datetime'''''''''20''''2''''''''''''''0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da-DK" sz="1200" noProof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8A13F58-8303-7480-8EAB-C044167BED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16738" y="5105400"/>
            <a:ext cx="344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86D1D3-107B-4737-8E28-F31C8D0594E2}" type="datetime'''2''''02''''''''''''''''''''''''''''''''''''''1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da-DK" sz="1200" noProof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1B3A916-7B54-EA97-EE3D-D400FD1A89C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66038" y="5105400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C69855-FE09-4F04-BC65-0AC165D0099E}" type="datetime'''2''''''''''''''0''''''''''''''''''''''''''''''22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da-DK" sz="1200" noProof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4A00AAA-0EF8-8379-58D2-0C22D051811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235950" y="4630738"/>
            <a:ext cx="342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953479-8909-4A6E-85CE-B462AC8DDC3D}" type="datetime'''''''''''''''''''''''''''''''''''''35''''%'''''''''''''''">
              <a:rPr lang="da-DK" sz="1200" noProof="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A8FC049-FEE0-F253-C515-ABEAA50A5C4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315325" y="4243388"/>
            <a:ext cx="263525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73C3C7-7ED1-4A14-95C9-5D77DAA597B1}" type="datetime'''''''''6''''''''''%'''''">
              <a:rPr lang="da-DK" sz="1200" noProof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da-DK" sz="1200" noProof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A5BE2E3-5BAC-802C-2020-ABB4C3052DB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250238" y="4094163"/>
            <a:ext cx="328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279E4D-4455-4781-A9D8-7B8862A87666}" type="datetime'''''''''''''1''''0''%'''''''''''''''''''''''''''''''''''''''''">
              <a:rPr lang="da-DK" sz="1200" noProof="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1795492-30E3-67E3-3189-ABB04FFC7F4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261350" y="3840163"/>
            <a:ext cx="317500" cy="18256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227AB-0B00-46F7-BC7A-E2A449325F85}" type="datetime'1''''''''''''''''''''''''''''7''''''''''''%'''''''''''''">
              <a:rPr lang="da-DK" sz="1200" noProof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da-DK" sz="1200" noProof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EAB40AE-A86F-E81F-2C4C-218A9FCD5A7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315325" y="3625850"/>
            <a:ext cx="263525" cy="1825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BD0FF2-2CCA-4F3B-8135-55B49D83A042}" type="datetime'''''''''''''''''''''''6''''''%'''''''">
              <a:rPr lang="da-DK" sz="1200" noProof="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da-DK" sz="1200" noProof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8682C16-39F5-412E-4F9B-30EF7E9F354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229600" y="33131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E4B72A-6080-4E99-8318-EBA9569D9C3D}" type="datetime'''''''''''2''''''''''''7''''''%''''''''''''''''''''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da-DK" sz="1200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2985586-E317-8CC5-61CE-3034CD5DC9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429625" y="5105400"/>
            <a:ext cx="374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F7C0C3-2843-4102-895E-401931D58B8E}" type="datetime'''''''''''''''20''''''''''''''23'''''''''''''''''''''''''''''">
              <a:rPr lang="da-DK" sz="12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da-DK" sz="1200" noProof="0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456CB1E0-D639-E737-AACB-733D660E7EB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116013" y="5492750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013483A5-E9A3-368A-684B-58174304684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130550" y="5492750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ECFF5509-3A72-24C2-FEC9-F33C5068A8E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806950" y="5492750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A7D60949-AF7E-2973-1BB5-0DAB6BA22700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667375" y="5492750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D540D858-0ADE-A89B-8FBE-314422DE2788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357938" y="5492750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E7AD464A-3B09-FE66-EBA3-BB3E23E95D7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620000" y="5492750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Bef>
                <a:spcPts val="300"/>
              </a:spcBef>
            </a:pPr>
            <a:endParaRPr lang="da-DK" sz="1600" noProof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AAE67CF-977D-3D5A-BD70-C7C5849BF52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381125" y="5487988"/>
            <a:ext cx="16478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200" noProof="0" dirty="0"/>
              <a:t>European </a:t>
            </a:r>
            <a:r>
              <a:rPr lang="da-DK" sz="1200" noProof="0" dirty="0" err="1"/>
              <a:t>Production</a:t>
            </a:r>
            <a:endParaRPr lang="da-DK" sz="1200" noProof="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E2E9176-6AA0-B7C4-63E2-1C117ADFDFB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395663" y="5487988"/>
            <a:ext cx="1309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0BBAACF-77AA-494C-84C4-CF005531B7B3}" type="datetime'''''''''E''''u''r''''op''''''''''ean B''iog''''''as'''''">
              <a:rPr lang="da-DK" altLang="en-US" sz="1200" smtClean="0"/>
              <a:pPr/>
              <a:t>European Biogas</a:t>
            </a:fld>
            <a:endParaRPr lang="da-DK" sz="1200" noProof="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BD09496-675D-F796-063B-5E0A312ED90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072063" y="5487988"/>
            <a:ext cx="493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B3609F5-681E-4BB4-A6DA-0EBFBC803DD9}" type="datetime'''''Ru''''s''''si''''''''a'''''''''''''''''''''">
              <a:rPr lang="da-DK" altLang="en-US" sz="1200" smtClean="0"/>
              <a:pPr/>
              <a:t>Russia</a:t>
            </a:fld>
            <a:endParaRPr lang="da-DK" sz="1200" noProof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395BFAE-8D0F-1661-134B-DD05E51C0DD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932488" y="5487988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C353685-E908-4591-88C4-ED9CE8ACF367}" type="datetime'''''''''''''U''''''''''''''''S''''''''''''''''''''''A'''">
              <a:rPr lang="da-DK" altLang="en-US" sz="1200" smtClean="0"/>
              <a:pPr/>
              <a:t>USA</a:t>
            </a:fld>
            <a:endParaRPr lang="da-DK" sz="1200" noProof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D299A31-557B-2B59-9C8C-DB67ABB72E3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23050" y="5487988"/>
            <a:ext cx="895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BEC4AF6-E02B-47ED-8F13-0B713E60DFA3}" type="datetime'''''''''M''''''''i''''''d''dl''''''e ''''''''''''''Ea''''st'">
              <a:rPr lang="da-DK" altLang="en-US" sz="1200" smtClean="0"/>
              <a:pPr/>
              <a:t>Middle East</a:t>
            </a:fld>
            <a:endParaRPr lang="da-DK" sz="1200" noProof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4B480D3-CAA1-06F1-F6F5-A0E6F6CFE8C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885113" y="5487988"/>
            <a:ext cx="1089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5EBC986-43BF-4458-BF65-7C2959216667}" type="datetime'''O''t''''h''er'' I''''''''m''''p''''or''''''''t''''''''s'''''">
              <a:rPr lang="da-DK" altLang="en-US" sz="1200" smtClean="0"/>
              <a:pPr/>
              <a:t>Other Imports</a:t>
            </a:fld>
            <a:endParaRPr lang="da-DK" sz="1200" noProof="0" dirty="0"/>
          </a:p>
        </p:txBody>
      </p:sp>
      <p:cxnSp>
        <p:nvCxnSpPr>
          <p:cNvPr id="64" name="Lige pilforbindelse 63">
            <a:extLst>
              <a:ext uri="{FF2B5EF4-FFF2-40B4-BE49-F238E27FC236}">
                <a16:creationId xmlns:a16="http://schemas.microsoft.com/office/drawing/2014/main" id="{85BDDB86-CF10-F969-2E1F-19D66FEAADB7}"/>
              </a:ext>
            </a:extLst>
          </p:cNvPr>
          <p:cNvCxnSpPr>
            <a:cxnSpLocks/>
          </p:cNvCxnSpPr>
          <p:nvPr/>
        </p:nvCxnSpPr>
        <p:spPr>
          <a:xfrm>
            <a:off x="8785563" y="3155157"/>
            <a:ext cx="0" cy="1039812"/>
          </a:xfrm>
          <a:prstGeom prst="straightConnector1">
            <a:avLst/>
          </a:prstGeom>
          <a:ln w="571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Lige pilforbindelse 64">
            <a:extLst>
              <a:ext uri="{FF2B5EF4-FFF2-40B4-BE49-F238E27FC236}">
                <a16:creationId xmlns:a16="http://schemas.microsoft.com/office/drawing/2014/main" id="{F1155FB9-91D9-C65A-58FB-24159BED3203}"/>
              </a:ext>
            </a:extLst>
          </p:cNvPr>
          <p:cNvCxnSpPr>
            <a:cxnSpLocks/>
          </p:cNvCxnSpPr>
          <p:nvPr/>
        </p:nvCxnSpPr>
        <p:spPr>
          <a:xfrm>
            <a:off x="727855" y="2919958"/>
            <a:ext cx="0" cy="905123"/>
          </a:xfrm>
          <a:prstGeom prst="straightConnector1">
            <a:avLst/>
          </a:prstGeom>
          <a:ln w="571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felt 12">
            <a:extLst>
              <a:ext uri="{FF2B5EF4-FFF2-40B4-BE49-F238E27FC236}">
                <a16:creationId xmlns:a16="http://schemas.microsoft.com/office/drawing/2014/main" id="{5F0E77BE-66D7-095F-E17A-5FED591E7894}"/>
              </a:ext>
            </a:extLst>
          </p:cNvPr>
          <p:cNvSpPr txBox="1"/>
          <p:nvPr/>
        </p:nvSpPr>
        <p:spPr>
          <a:xfrm>
            <a:off x="645224" y="1176181"/>
            <a:ext cx="280530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EU Gas Supply </a:t>
            </a:r>
          </a:p>
          <a:p>
            <a:r>
              <a:rPr lang="en-US" sz="1000" dirty="0">
                <a:solidFill>
                  <a:schemeClr val="accent1"/>
                </a:solidFill>
              </a:rPr>
              <a:t>Million m³</a:t>
            </a:r>
            <a:endParaRPr lang="da-DK" sz="1000" dirty="0">
              <a:solidFill>
                <a:schemeClr val="accent1"/>
              </a:solidFill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68E4BCD1-B781-6F13-9834-CBEBF95988B0}"/>
              </a:ext>
            </a:extLst>
          </p:cNvPr>
          <p:cNvSpPr txBox="1"/>
          <p:nvPr/>
        </p:nvSpPr>
        <p:spPr>
          <a:xfrm>
            <a:off x="9191766" y="1364611"/>
            <a:ext cx="2447641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a-DK" sz="1100" b="1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a-DK" b="1" noProof="0" dirty="0">
                <a:solidFill>
                  <a:schemeClr val="accent1"/>
                </a:solidFill>
              </a:rPr>
              <a:t>2014</a:t>
            </a:r>
          </a:p>
          <a:p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ed gas accounted for approx. </a:t>
            </a:r>
            <a:r>
              <a:rPr lang="en-US" b="1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5%</a:t>
            </a:r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total EU gas supply.</a:t>
            </a:r>
            <a:endParaRPr lang="da-DK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a-DK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a-DK" b="1" noProof="0" dirty="0">
                <a:solidFill>
                  <a:schemeClr val="accent1"/>
                </a:solidFill>
              </a:rPr>
              <a:t>2023</a:t>
            </a:r>
          </a:p>
          <a:p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ed gas accounts for approx. </a:t>
            </a:r>
            <a:r>
              <a:rPr lang="en-US" b="1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0%</a:t>
            </a:r>
            <a:r>
              <a:rPr lang="en-US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total EU gas supply.</a:t>
            </a:r>
            <a:endParaRPr lang="da-DK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8AC2512-5C9A-AA4A-5B38-D5F8C6630E33}"/>
              </a:ext>
            </a:extLst>
          </p:cNvPr>
          <p:cNvSpPr txBox="1">
            <a:spLocks/>
          </p:cNvSpPr>
          <p:nvPr/>
        </p:nvSpPr>
        <p:spPr>
          <a:xfrm>
            <a:off x="720000" y="360000"/>
            <a:ext cx="107532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EU is dependent on gas – coming from countries outside the EU</a:t>
            </a:r>
            <a:endParaRPr lang="da-DK" dirty="0"/>
          </a:p>
        </p:txBody>
      </p:sp>
      <p:cxnSp>
        <p:nvCxnSpPr>
          <p:cNvPr id="34" name="Lige forbindelse 33">
            <a:extLst>
              <a:ext uri="{FF2B5EF4-FFF2-40B4-BE49-F238E27FC236}">
                <a16:creationId xmlns:a16="http://schemas.microsoft.com/office/drawing/2014/main" id="{2D96A19E-46D2-F71D-35D1-615571CABA48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Lige forbindelse 35">
            <a:extLst>
              <a:ext uri="{FF2B5EF4-FFF2-40B4-BE49-F238E27FC236}">
                <a16:creationId xmlns:a16="http://schemas.microsoft.com/office/drawing/2014/main" id="{51FDED0C-D091-8014-AEE4-B5DEC5821419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Pladsholder til tekst 4">
            <a:extLst>
              <a:ext uri="{FF2B5EF4-FFF2-40B4-BE49-F238E27FC236}">
                <a16:creationId xmlns:a16="http://schemas.microsoft.com/office/drawing/2014/main" id="{F4CF29FF-6D98-617E-9B20-F19D5AB298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0000" y="5849199"/>
            <a:ext cx="8153412" cy="36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Note: </a:t>
            </a:r>
            <a:r>
              <a: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Imports from Norway are included in the EU’s gas supply.</a:t>
            </a:r>
            <a:endParaRPr kumimoji="0" lang="da-DK" sz="8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Source: </a:t>
            </a:r>
            <a:r>
              <a:rPr kumimoji="0" lang="da-DK" sz="800" b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Eurostat</a:t>
            </a:r>
            <a:endParaRPr lang="da-DK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2731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5131B-A0E2-7E0B-F7EB-915CEB705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55D5508-2B85-F1F2-807D-6FDD1693D9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76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D5508-2B85-F1F2-807D-6FDD1693D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kstfelt 88">
            <a:extLst>
              <a:ext uri="{FF2B5EF4-FFF2-40B4-BE49-F238E27FC236}">
                <a16:creationId xmlns:a16="http://schemas.microsoft.com/office/drawing/2014/main" id="{E104E006-1530-DAB6-66C9-F4B2A74CCE73}"/>
              </a:ext>
            </a:extLst>
          </p:cNvPr>
          <p:cNvSpPr txBox="1"/>
          <p:nvPr/>
        </p:nvSpPr>
        <p:spPr>
          <a:xfrm>
            <a:off x="8069262" y="2185024"/>
            <a:ext cx="324528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i="1" noProof="0" dirty="0"/>
              <a:t>Continued dependency on gas - regardless of the source </a:t>
            </a:r>
            <a:r>
              <a:rPr lang="en-US" sz="2000" b="1" i="1" noProof="0" dirty="0"/>
              <a:t>– is not a long-term solution</a:t>
            </a:r>
            <a:endParaRPr lang="da-DK" sz="2000" i="1" noProof="0" dirty="0"/>
          </a:p>
        </p:txBody>
      </p:sp>
      <p:cxnSp>
        <p:nvCxnSpPr>
          <p:cNvPr id="31" name="Lige forbindelse 30">
            <a:extLst>
              <a:ext uri="{FF2B5EF4-FFF2-40B4-BE49-F238E27FC236}">
                <a16:creationId xmlns:a16="http://schemas.microsoft.com/office/drawing/2014/main" id="{9594E4E7-153F-DFDE-29A3-B0E08AD01EC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271588" y="535146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Lige forbindelse 32">
            <a:extLst>
              <a:ext uri="{FF2B5EF4-FFF2-40B4-BE49-F238E27FC236}">
                <a16:creationId xmlns:a16="http://schemas.microsoft.com/office/drawing/2014/main" id="{0BD9246B-C39C-B604-DCC2-9B77DF81F69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284538" y="535146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Lige forbindelse 34">
            <a:extLst>
              <a:ext uri="{FF2B5EF4-FFF2-40B4-BE49-F238E27FC236}">
                <a16:creationId xmlns:a16="http://schemas.microsoft.com/office/drawing/2014/main" id="{EC4E9C6D-68B8-4D23-81AF-81C7A91C8D0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300663" y="535146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Lige forbindelse 36">
            <a:extLst>
              <a:ext uri="{FF2B5EF4-FFF2-40B4-BE49-F238E27FC236}">
                <a16:creationId xmlns:a16="http://schemas.microsoft.com/office/drawing/2014/main" id="{35416AE6-5DC2-FDA1-C2BC-D56AE76B106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313613" y="535146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Lige forbindelse 69">
            <a:extLst>
              <a:ext uri="{FF2B5EF4-FFF2-40B4-BE49-F238E27FC236}">
                <a16:creationId xmlns:a16="http://schemas.microsoft.com/office/drawing/2014/main" id="{29FC52FE-867F-A0B5-330E-26278108639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278063" y="535146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Lige forbindelse 70">
            <a:extLst>
              <a:ext uri="{FF2B5EF4-FFF2-40B4-BE49-F238E27FC236}">
                <a16:creationId xmlns:a16="http://schemas.microsoft.com/office/drawing/2014/main" id="{37AB0FD1-7839-3272-47EC-08773656048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294188" y="535146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Lige forbindelse 71">
            <a:extLst>
              <a:ext uri="{FF2B5EF4-FFF2-40B4-BE49-F238E27FC236}">
                <a16:creationId xmlns:a16="http://schemas.microsoft.com/office/drawing/2014/main" id="{C18D8971-78D7-17E4-E95B-223AB237F08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307138" y="535146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3" name="Chart 3">
            <a:extLst>
              <a:ext uri="{FF2B5EF4-FFF2-40B4-BE49-F238E27FC236}">
                <a16:creationId xmlns:a16="http://schemas.microsoft.com/office/drawing/2014/main" id="{6231844C-392D-BD46-D67B-A8D22A92DD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79771386"/>
              </p:ext>
            </p:extLst>
          </p:nvPr>
        </p:nvGraphicFramePr>
        <p:xfrm>
          <a:off x="635000" y="1776413"/>
          <a:ext cx="6761163" cy="378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FA3AA4B-F3BC-8A36-A21E-178BFAE9571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11213" y="5468938"/>
            <a:ext cx="920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CE3192-14B5-4538-9DB4-1E0476DF930E}" type="datetime'''''0''''1-''01-''''''''''2''''0''2''''''''''''''''''2'">
              <a:rPr lang="da-DK" sz="14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2</a:t>
            </a:fld>
            <a:endParaRPr lang="da-DK" sz="1400" noProof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3A78EA7-E55B-84A8-0973-839370B51D9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816225" y="5468938"/>
            <a:ext cx="936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74C794-3CB9-4A5E-B537-D2C0DAC65D1F}" type="datetime'''''''''''''0''1''''-''''0''''1''''-2''02''''''''''''4'''''''">
              <a:rPr lang="da-DK" sz="14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4</a:t>
            </a:fld>
            <a:endParaRPr lang="da-DK" sz="1400" noProof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FCE24FAC-55BA-6EB6-EDDD-616B422B2DB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37113" y="5468938"/>
            <a:ext cx="927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1B9E2A-839D-4018-B520-CE50AD2F04BF}" type="datetime'0''''1-''''0''''''''''''''''''''1''-''2''''''0''2''''''6'''''">
              <a:rPr lang="da-DK" sz="14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6</a:t>
            </a:fld>
            <a:endParaRPr lang="da-DK" sz="1400" noProof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58A0BDC-3303-EBE2-7593-CBA9C4B2461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48475" y="5468938"/>
            <a:ext cx="931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8BF28D-7950-4201-A2C8-84688B980BBD}" type="datetime'0''''''''''''''''''1''-''''''''''''0''1''-''''''2''''''02''8'">
              <a:rPr lang="da-DK" sz="1400" noProof="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8</a:t>
            </a:fld>
            <a:endParaRPr lang="da-DK" sz="1400" noProof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40F319D-A5F3-DF3B-74FC-6FE10957C97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19275" y="5468938"/>
            <a:ext cx="919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0FB6DF-83B3-4D95-A67A-8D8E34E3AAD2}" type="datetime'''''01''''-''''''01''''''''''''''''''''''''-''''202''''3'''''">
              <a:rPr lang="da-DK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3</a:t>
            </a:fld>
            <a:endParaRPr lang="da-DK" sz="1400" noProof="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364EF21-C6D5-F449-86C5-AF312F8154B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835400" y="5468938"/>
            <a:ext cx="919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DBC5C4-E6ED-4F85-B4E0-A965353DAD17}" type="datetime'01-''0''''''''''''1-20''''''''''''''''''2''''''5'">
              <a:rPr lang="da-DK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5</a:t>
            </a:fld>
            <a:endParaRPr lang="da-DK" sz="1400" noProof="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3F5300F-0F53-4796-43E7-E5720CC3339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845175" y="5468938"/>
            <a:ext cx="923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365FB7-F370-460A-92A5-992F6135FF58}" type="datetime'01-''''''''''''''0''''''''''1-''20''2''''''7'''">
              <a:rPr lang="da-DK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7</a:t>
            </a:fld>
            <a:endParaRPr lang="da-DK" sz="1400" noProof="0" dirty="0"/>
          </a:p>
        </p:txBody>
      </p:sp>
      <p:cxnSp>
        <p:nvCxnSpPr>
          <p:cNvPr id="59" name="Lige forbindelse 58">
            <a:extLst>
              <a:ext uri="{FF2B5EF4-FFF2-40B4-BE49-F238E27FC236}">
                <a16:creationId xmlns:a16="http://schemas.microsoft.com/office/drawing/2014/main" id="{7420E288-B29F-E415-DCD2-3C9546D29FB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526338" y="4900613"/>
            <a:ext cx="212725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Lige forbindelse 59">
            <a:extLst>
              <a:ext uri="{FF2B5EF4-FFF2-40B4-BE49-F238E27FC236}">
                <a16:creationId xmlns:a16="http://schemas.microsoft.com/office/drawing/2014/main" id="{A73D4DF9-6D5B-B5E0-86E9-12830E33159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526338" y="5164138"/>
            <a:ext cx="212725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71854BDA-2E1D-4907-1BE7-E772AC003BF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08913" y="4802188"/>
            <a:ext cx="260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2D39CE7-2B70-41CE-83AC-3E41530D8DC5}" type="datetime'''''''''''''''''''E''''''''''''U'''">
              <a:rPr lang="da-DK" sz="1400" noProof="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U</a:t>
            </a:fld>
            <a:endParaRPr lang="da-DK" sz="1400" noProof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817058D-D577-F553-AB0F-48D3DA99BDD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08913" y="5065713"/>
            <a:ext cx="250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F5D5E6F-43A2-4FDE-BB93-DFB453A93838}" type="datetime'''''''''''''U''''''''''''''''''''S'''''''''''''''''">
              <a:rPr lang="da-DK" altLang="en-US" sz="1400" smtClean="0"/>
              <a:pPr/>
              <a:t>US</a:t>
            </a:fld>
            <a:endParaRPr lang="da-DK" sz="1400" noProof="0" dirty="0"/>
          </a:p>
        </p:txBody>
      </p:sp>
      <p:cxnSp>
        <p:nvCxnSpPr>
          <p:cNvPr id="67" name="Lige pilforbindelse 66">
            <a:extLst>
              <a:ext uri="{FF2B5EF4-FFF2-40B4-BE49-F238E27FC236}">
                <a16:creationId xmlns:a16="http://schemas.microsoft.com/office/drawing/2014/main" id="{5B22EFAB-B315-E306-02F5-E6EC36112529}"/>
              </a:ext>
            </a:extLst>
          </p:cNvPr>
          <p:cNvCxnSpPr>
            <a:cxnSpLocks/>
          </p:cNvCxnSpPr>
          <p:nvPr/>
        </p:nvCxnSpPr>
        <p:spPr>
          <a:xfrm>
            <a:off x="4362370" y="4653413"/>
            <a:ext cx="0" cy="502206"/>
          </a:xfrm>
          <a:prstGeom prst="straightConnector1">
            <a:avLst/>
          </a:prstGeom>
          <a:ln w="571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kstfelt 67">
            <a:extLst>
              <a:ext uri="{FF2B5EF4-FFF2-40B4-BE49-F238E27FC236}">
                <a16:creationId xmlns:a16="http://schemas.microsoft.com/office/drawing/2014/main" id="{7A7FB67A-E9AC-4399-279F-C65D3B4F574D}"/>
              </a:ext>
            </a:extLst>
          </p:cNvPr>
          <p:cNvSpPr txBox="1"/>
          <p:nvPr/>
        </p:nvSpPr>
        <p:spPr>
          <a:xfrm>
            <a:off x="3247383" y="3657792"/>
            <a:ext cx="274287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noProof="0" dirty="0">
                <a:solidFill>
                  <a:schemeClr val="accent1"/>
                </a:solidFill>
              </a:rPr>
              <a:t>The price difference </a:t>
            </a:r>
            <a:r>
              <a:rPr lang="en-US" sz="1100" b="1" noProof="0" dirty="0">
                <a:solidFill>
                  <a:schemeClr val="accent1"/>
                </a:solidFill>
              </a:rPr>
              <a:t>corresponds to the extra cost of converting and transporting gas </a:t>
            </a:r>
            <a:r>
              <a:rPr lang="en-US" sz="1100" noProof="0" dirty="0">
                <a:solidFill>
                  <a:schemeClr val="accent1"/>
                </a:solidFill>
              </a:rPr>
              <a:t>from USA to Europe</a:t>
            </a:r>
            <a:endParaRPr lang="da-DK" sz="1100" noProof="0" dirty="0">
              <a:solidFill>
                <a:schemeClr val="accent1"/>
              </a:solidFill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5546116-D944-10F9-9B2E-4B55BF14B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332811"/>
            <a:ext cx="10833586" cy="740270"/>
          </a:xfrm>
        </p:spPr>
        <p:txBody>
          <a:bodyPr vert="horz"/>
          <a:lstStyle/>
          <a:p>
            <a:r>
              <a:rPr lang="en-US" noProof="0" dirty="0"/>
              <a:t>The US will always have access to cheaper gas than Europe</a:t>
            </a:r>
            <a:endParaRPr lang="da-DK" noProof="0" dirty="0"/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7DFCCE1-50A3-8B1E-FD8F-F6FBC1A37B08}"/>
              </a:ext>
            </a:extLst>
          </p:cNvPr>
          <p:cNvSpPr/>
          <p:nvPr/>
        </p:nvSpPr>
        <p:spPr>
          <a:xfrm>
            <a:off x="737799" y="1178935"/>
            <a:ext cx="7286528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300"/>
              </a:spcBef>
            </a:pPr>
            <a:r>
              <a:rPr lang="en-US" sz="1100" b="1" dirty="0">
                <a:solidFill>
                  <a:schemeClr val="accent1"/>
                </a:solidFill>
              </a:rPr>
              <a:t>The difference in the price of natural gas between the US and the EU </a:t>
            </a:r>
            <a:br>
              <a:rPr lang="da-DK" sz="1050" noProof="0" dirty="0">
                <a:solidFill>
                  <a:schemeClr val="accent1"/>
                </a:solidFill>
              </a:rPr>
            </a:br>
            <a:r>
              <a:rPr lang="da-DK" sz="1000" noProof="0" dirty="0">
                <a:solidFill>
                  <a:schemeClr val="accent1"/>
                </a:solidFill>
              </a:rPr>
              <a:t>EUR/MWh</a:t>
            </a:r>
            <a:endParaRPr lang="da-DK" sz="1050" noProof="0" dirty="0">
              <a:solidFill>
                <a:schemeClr val="accent1"/>
              </a:solidFill>
            </a:endParaRPr>
          </a:p>
        </p:txBody>
      </p: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AB19CFEB-94B1-D5A3-EC52-66F3CE65B397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6F653C68-D001-71CF-650A-B7D00D01A241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ladsholder til tekst 4">
            <a:extLst>
              <a:ext uri="{FF2B5EF4-FFF2-40B4-BE49-F238E27FC236}">
                <a16:creationId xmlns:a16="http://schemas.microsoft.com/office/drawing/2014/main" id="{A78D50FC-C25F-233A-F1A9-C16086F63A23}"/>
              </a:ext>
            </a:extLst>
          </p:cNvPr>
          <p:cNvSpPr txBox="1">
            <a:spLocks/>
          </p:cNvSpPr>
          <p:nvPr/>
        </p:nvSpPr>
        <p:spPr>
          <a:xfrm>
            <a:off x="720000" y="5849199"/>
            <a:ext cx="8153412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buFontTx/>
              <a:buNone/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Note: </a:t>
            </a:r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: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he prices are benchmark prices at the two gas hubs, Henry Hub and TTF. That is, net gas prices without taxes and transport costs..</a:t>
            </a:r>
            <a:endParaRPr lang="da-DK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spcAft>
                <a:spcPts val="0"/>
              </a:spcAft>
              <a:buFontTx/>
              <a:buNone/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Source: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Montel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(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Syspower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607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F44E5-0C73-8587-217E-FAD00EC93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CD45589-691E-6068-D607-506E86560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38" imgH="338" progId="TCLayout.ActiveDocument.1">
                  <p:embed/>
                </p:oleObj>
              </mc:Choice>
              <mc:Fallback>
                <p:oleObj name="think-cell Slide" r:id="rId15" imgW="338" imgH="33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45589-691E-6068-D607-506E86560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B57D795-7D57-98E1-3F40-3295F24398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063630F-9FCB-44D2-5231-2DF39D13498F}"/>
              </a:ext>
            </a:extLst>
          </p:cNvPr>
          <p:cNvSpPr txBox="1">
            <a:spLocks/>
          </p:cNvSpPr>
          <p:nvPr/>
        </p:nvSpPr>
        <p:spPr>
          <a:xfrm>
            <a:off x="635000" y="331662"/>
            <a:ext cx="107532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B5C7DE"/>
                </a:solidFill>
              </a:rPr>
              <a:t>We can, however, match the rest of the world on electricity prices</a:t>
            </a:r>
            <a:endParaRPr lang="da-DK" dirty="0"/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553BCB12-5E30-6262-EEE8-199FDAA6213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70900" y="2652713"/>
            <a:ext cx="342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200"/>
          </a:p>
        </p:txBody>
      </p: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C27CC98D-DDF6-766E-7DA4-CF8BEE3AF93E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ktangel 18">
            <a:extLst>
              <a:ext uri="{FF2B5EF4-FFF2-40B4-BE49-F238E27FC236}">
                <a16:creationId xmlns:a16="http://schemas.microsoft.com/office/drawing/2014/main" id="{143BDEDF-8AFC-C3C1-1A8D-3C62C74B7A9A}"/>
              </a:ext>
            </a:extLst>
          </p:cNvPr>
          <p:cNvSpPr/>
          <p:nvPr/>
        </p:nvSpPr>
        <p:spPr>
          <a:xfrm>
            <a:off x="719137" y="1178935"/>
            <a:ext cx="7407275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accent1"/>
                </a:solidFill>
              </a:rPr>
              <a:t>Electricity prices for </a:t>
            </a:r>
            <a:r>
              <a:rPr lang="en-US" sz="1200" b="1" u="sng" dirty="0">
                <a:solidFill>
                  <a:schemeClr val="accent1"/>
                </a:solidFill>
              </a:rPr>
              <a:t>businesses</a:t>
            </a:r>
            <a:r>
              <a:rPr lang="en-US" sz="1200" b="1" dirty="0">
                <a:solidFill>
                  <a:schemeClr val="accent1"/>
                </a:solidFill>
              </a:rPr>
              <a:t> in selected countries</a:t>
            </a:r>
          </a:p>
          <a:p>
            <a:r>
              <a:rPr lang="da-DK" sz="1100" dirty="0">
                <a:solidFill>
                  <a:schemeClr val="accent1"/>
                </a:solidFill>
              </a:rPr>
              <a:t>EUR/kWh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3A31CF45-D8B6-B96D-BE2C-BCFE1F9AAF1B}"/>
              </a:ext>
            </a:extLst>
          </p:cNvPr>
          <p:cNvSpPr txBox="1">
            <a:spLocks/>
          </p:cNvSpPr>
          <p:nvPr/>
        </p:nvSpPr>
        <p:spPr>
          <a:xfrm>
            <a:off x="720000" y="5895854"/>
            <a:ext cx="918748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Note: 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Elpriserne for Europa er baseret på Eurostat H2 2024 mens priserne for Kina og USA er september 2024. Prisen er inkl. Alle omkostninger til strømkøb. </a:t>
            </a:r>
          </a:p>
          <a:p>
            <a:pPr>
              <a:spcAft>
                <a:spcPts val="0"/>
              </a:spcAft>
              <a:buFontTx/>
              <a:buNone/>
              <a:defRPr/>
            </a:pPr>
            <a:r>
              <a:rPr lang="da-DK" b="1" dirty="0"/>
              <a:t>Kilde: 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Eurostat og Global Petrol Prices</a:t>
            </a:r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85ABFCD8-152E-B0B1-3DDD-7AB9AEFA759F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CB7F2369-3E46-8DAF-86B9-123F4087F02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5000" y="1738313"/>
          <a:ext cx="10920413" cy="389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781E917-B1E1-35EF-8C01-9E6C35623E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04950" y="5413375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 err="1"/>
              <a:t>Italy</a:t>
            </a:r>
            <a:endParaRPr lang="da-DK" sz="1200" noProof="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B784345-5DED-15DD-975C-BACF96D2016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430463" y="5413375"/>
            <a:ext cx="687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/>
              <a:t>Germany</a:t>
            </a:r>
            <a:endParaRPr lang="da-DK" sz="1200" noProof="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54F3B7E-4365-6C1D-9327-9234D456A4E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89338" y="5413375"/>
            <a:ext cx="412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26D137-443D-4419-819E-1A19868170A9}" type="datetime'''''E''''''''''''''''''''''''''''''''U''''2''''''7'''''">
              <a:rPr lang="da-DK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U27</a:t>
            </a:fld>
            <a:endParaRPr lang="da-DK" sz="1200" noProof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3D114ED-1FA6-7F1B-853B-A62E3E6D67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489450" y="5413375"/>
            <a:ext cx="661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/>
              <a:t>France</a:t>
            </a:r>
            <a:endParaRPr lang="da-DK" sz="1200" noProof="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4FF43BC-4C69-DAF2-0E06-482D7C7B00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24500" y="5413375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/>
              <a:t>Spain</a:t>
            </a:r>
            <a:endParaRPr lang="da-DK" sz="1200" noProof="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B7412CE-79DA-2E15-8040-C3E0A1ED061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99225" y="5413375"/>
            <a:ext cx="736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/>
              <a:t>Denmark</a:t>
            </a:r>
            <a:endParaRPr lang="da-DK" sz="1200" noProof="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76D684-2A60-97AB-8F88-F03CB18D661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600950" y="5413375"/>
            <a:ext cx="579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 err="1"/>
              <a:t>Sweden</a:t>
            </a:r>
            <a:endParaRPr lang="da-DK" sz="1200" noProof="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2A79093-9CC2-D8A8-1D45-EDA073E3A39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69475" y="5413375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266EEF-5DC9-4015-9339-4FC0DF8E8E2C}" type="datetime'''''''''''U''''S''A'''''''''''''''''''''''''">
              <a:rPr lang="da-DK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A</a:t>
            </a:fld>
            <a:endParaRPr lang="da-DK" sz="1200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D47205E-D855-0B86-C502-BDDACBBB15A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782300" y="5413375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 dirty="0"/>
              <a:t>China</a:t>
            </a:r>
            <a:endParaRPr lang="da-DK" sz="1200" noProof="0" dirty="0"/>
          </a:p>
        </p:txBody>
      </p:sp>
    </p:spTree>
    <p:extLst>
      <p:ext uri="{BB962C8B-B14F-4D97-AF65-F5344CB8AC3E}">
        <p14:creationId xmlns:p14="http://schemas.microsoft.com/office/powerpoint/2010/main" val="1038363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C01BD0-EF07-D604-C5AB-565614C1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5C77CE3-DCAE-D7C8-1B48-BE9E90D9C5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20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77CE3-DCAE-D7C8-1B48-BE9E90D9C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DA030DD-ADF0-724B-EC1A-894C675CF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 </a:t>
            </a:r>
            <a:r>
              <a:rPr lang="da-DK" dirty="0" err="1"/>
              <a:t>household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 </a:t>
            </a:r>
            <a:r>
              <a:rPr lang="da-DK" dirty="0" err="1"/>
              <a:t>expect</a:t>
            </a:r>
            <a:r>
              <a:rPr lang="da-DK" dirty="0"/>
              <a:t> to save 1.335 EUR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year</a:t>
            </a:r>
            <a:r>
              <a:rPr lang="da-DK" dirty="0"/>
              <a:t>    </a:t>
            </a:r>
          </a:p>
        </p:txBody>
      </p: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B6302235-EE59-9193-3C95-7C124F1FA8F0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Lige forbindelse 170">
            <a:extLst>
              <a:ext uri="{FF2B5EF4-FFF2-40B4-BE49-F238E27FC236}">
                <a16:creationId xmlns:a16="http://schemas.microsoft.com/office/drawing/2014/main" id="{00B79845-D959-8998-48AF-B85FFEC9B8A9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kstfelt 185">
            <a:extLst>
              <a:ext uri="{FF2B5EF4-FFF2-40B4-BE49-F238E27FC236}">
                <a16:creationId xmlns:a16="http://schemas.microsoft.com/office/drawing/2014/main" id="{D853FA8F-4D61-66A3-EA08-D00226E44643}"/>
              </a:ext>
            </a:extLst>
          </p:cNvPr>
          <p:cNvSpPr txBox="1"/>
          <p:nvPr/>
        </p:nvSpPr>
        <p:spPr>
          <a:xfrm>
            <a:off x="645223" y="1176181"/>
            <a:ext cx="830283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Estimated yearly savings between heat pump and oil/gas boiler for a single-house </a:t>
            </a:r>
          </a:p>
          <a:p>
            <a:r>
              <a:rPr lang="en-US" sz="1000" dirty="0">
                <a:solidFill>
                  <a:schemeClr val="accent1"/>
                </a:solidFill>
              </a:rPr>
              <a:t>EUR/year (2024-price index)</a:t>
            </a:r>
            <a:endParaRPr lang="da-DK" sz="1000" dirty="0">
              <a:solidFill>
                <a:schemeClr val="accent1"/>
              </a:solidFill>
            </a:endParaRPr>
          </a:p>
        </p:txBody>
      </p:sp>
      <p:sp>
        <p:nvSpPr>
          <p:cNvPr id="189" name="Tekstfelt 188">
            <a:extLst>
              <a:ext uri="{FF2B5EF4-FFF2-40B4-BE49-F238E27FC236}">
                <a16:creationId xmlns:a16="http://schemas.microsoft.com/office/drawing/2014/main" id="{BDEDCA35-A446-FE93-787A-20192139A880}"/>
              </a:ext>
            </a:extLst>
          </p:cNvPr>
          <p:cNvSpPr txBox="1"/>
          <p:nvPr/>
        </p:nvSpPr>
        <p:spPr>
          <a:xfrm>
            <a:off x="1147210" y="1917469"/>
            <a:ext cx="231183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200" b="1" dirty="0">
                <a:solidFill>
                  <a:schemeClr val="accent2"/>
                </a:solidFill>
              </a:rPr>
              <a:t>Potential </a:t>
            </a:r>
            <a:r>
              <a:rPr lang="da-DK" sz="1200" b="1" dirty="0" err="1">
                <a:solidFill>
                  <a:schemeClr val="accent2"/>
                </a:solidFill>
              </a:rPr>
              <a:t>yearly</a:t>
            </a:r>
            <a:r>
              <a:rPr lang="da-DK" sz="1200" b="1" dirty="0">
                <a:solidFill>
                  <a:schemeClr val="accent2"/>
                </a:solidFill>
              </a:rPr>
              <a:t> </a:t>
            </a:r>
            <a:r>
              <a:rPr lang="da-DK" sz="1200" b="1" dirty="0" err="1">
                <a:solidFill>
                  <a:schemeClr val="accent2"/>
                </a:solidFill>
              </a:rPr>
              <a:t>saving</a:t>
            </a:r>
            <a:r>
              <a:rPr lang="da-DK" sz="1200" b="1" dirty="0">
                <a:solidFill>
                  <a:schemeClr val="accent2"/>
                </a:solidFill>
              </a:rPr>
              <a:t> </a:t>
            </a:r>
            <a:r>
              <a:rPr lang="da-DK" sz="1200" dirty="0" err="1">
                <a:solidFill>
                  <a:schemeClr val="accent2"/>
                </a:solidFill>
              </a:rPr>
              <a:t>replacing</a:t>
            </a:r>
            <a:r>
              <a:rPr lang="da-DK" sz="1200" dirty="0">
                <a:solidFill>
                  <a:schemeClr val="accent2"/>
                </a:solidFill>
              </a:rPr>
              <a:t> all gas </a:t>
            </a:r>
            <a:r>
              <a:rPr lang="da-DK" sz="1200" dirty="0" err="1">
                <a:solidFill>
                  <a:schemeClr val="accent2"/>
                </a:solidFill>
              </a:rPr>
              <a:t>boilers</a:t>
            </a:r>
            <a:r>
              <a:rPr lang="da-DK" sz="1200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190" name="Tekstfelt 189">
            <a:extLst>
              <a:ext uri="{FF2B5EF4-FFF2-40B4-BE49-F238E27FC236}">
                <a16:creationId xmlns:a16="http://schemas.microsoft.com/office/drawing/2014/main" id="{E1FE6875-37F1-FD18-0DA6-246D3E8F79F4}"/>
              </a:ext>
            </a:extLst>
          </p:cNvPr>
          <p:cNvSpPr txBox="1"/>
          <p:nvPr/>
        </p:nvSpPr>
        <p:spPr>
          <a:xfrm>
            <a:off x="3191614" y="1874528"/>
            <a:ext cx="276419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3200" b="1" dirty="0">
                <a:solidFill>
                  <a:schemeClr val="accent2"/>
                </a:solidFill>
              </a:rPr>
              <a:t>~ 0,4 </a:t>
            </a:r>
            <a:r>
              <a:rPr lang="da-DK" sz="3200" b="1" dirty="0" err="1">
                <a:solidFill>
                  <a:schemeClr val="accent2"/>
                </a:solidFill>
              </a:rPr>
              <a:t>bn</a:t>
            </a:r>
            <a:r>
              <a:rPr lang="da-DK" sz="3200" b="1" dirty="0">
                <a:solidFill>
                  <a:schemeClr val="accent2"/>
                </a:solidFill>
              </a:rPr>
              <a:t> EUR</a:t>
            </a:r>
          </a:p>
        </p:txBody>
      </p:sp>
      <p:sp>
        <p:nvSpPr>
          <p:cNvPr id="194" name="Pladsholder til tekst 4">
            <a:extLst>
              <a:ext uri="{FF2B5EF4-FFF2-40B4-BE49-F238E27FC236}">
                <a16:creationId xmlns:a16="http://schemas.microsoft.com/office/drawing/2014/main" id="{CBC031F3-2171-DED0-6EC0-2B89F7D7A15B}"/>
              </a:ext>
            </a:extLst>
          </p:cNvPr>
          <p:cNvSpPr txBox="1">
            <a:spLocks/>
          </p:cNvSpPr>
          <p:nvPr/>
        </p:nvSpPr>
        <p:spPr>
          <a:xfrm>
            <a:off x="719999" y="5849199"/>
            <a:ext cx="9259025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Note:</a:t>
            </a:r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: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alculated using a large sample of actual households in Denmark using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registerdat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from Statistics Denmark. Savings are only single-house buildings or terraced houses under 350 square meters. </a:t>
            </a:r>
          </a:p>
          <a:p>
            <a:pPr>
              <a:spcAft>
                <a:spcPts val="0"/>
              </a:spcAft>
              <a:buFontTx/>
              <a:buNone/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Source: 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Green Power Denmark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using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Statistics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Denmarks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registry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data</a:t>
            </a:r>
          </a:p>
        </p:txBody>
      </p:sp>
      <p:sp>
        <p:nvSpPr>
          <p:cNvPr id="196" name="Pladsholder til tekst 195">
            <a:extLst>
              <a:ext uri="{FF2B5EF4-FFF2-40B4-BE49-F238E27FC236}">
                <a16:creationId xmlns:a16="http://schemas.microsoft.com/office/drawing/2014/main" id="{3AF64EF9-3138-27AB-77A7-25D2DA3F17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graphicFrame>
        <p:nvGraphicFramePr>
          <p:cNvPr id="204" name="Chart 3">
            <a:extLst>
              <a:ext uri="{FF2B5EF4-FFF2-40B4-BE49-F238E27FC236}">
                <a16:creationId xmlns:a16="http://schemas.microsoft.com/office/drawing/2014/main" id="{1DE0CC8D-0218-A961-5609-19A809AAEE8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29606"/>
              </p:ext>
            </p:extLst>
          </p:nvPr>
        </p:nvGraphicFramePr>
        <p:xfrm>
          <a:off x="905550" y="2874537"/>
          <a:ext cx="5106988" cy="2605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DEF5EE11-5675-BEC9-1624-54824B8CCA2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41525" y="5438775"/>
            <a:ext cx="374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B058AB3-49D2-4EB3-BB32-279C85E785C8}" type="datetime'''''''''''2''''''0''''2''''''''5'''''''''''''''''">
              <a:rPr lang="da-DK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da-DK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6BA3F0DD-EBDE-F402-B980-EE668FC5BD3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13263" y="5438775"/>
            <a:ext cx="373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59CB1D1-CC7B-49BE-878C-48B818A8010B}" type="datetime'''2''''0''''''''''''''''''''''''''''''''''''3''''5'''''''''">
              <a:rPr lang="da-DK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5</a:t>
            </a:fld>
            <a:endParaRPr kumimoji="0" lang="da-DK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A8926AC6-86D7-6C73-57CA-CD59F269D4A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65313" y="344011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5B37A1-BC94-4139-B995-8A6EE4ECDBEE}" type="datetime'1''''''''''''3''''''''''''''''''''''''''''''''''''''3''5'''''">
              <a:rPr lang="da-DK" altLang="en-US" sz="1200" smtClean="0">
                <a:solidFill>
                  <a:srgbClr val="000000"/>
                </a:solidFill>
              </a:rPr>
              <a:pPr/>
              <a:t>1335</a:t>
            </a:fld>
            <a:r>
              <a:rPr lang="da-DK" altLang="en-US" sz="1200">
                <a:solidFill>
                  <a:srgbClr val="000000"/>
                </a:solidFill>
                <a:effectLst/>
              </a:rPr>
              <a:t> </a:t>
            </a:r>
            <a:r>
              <a:rPr lang="da-DK" altLang="en-US" sz="1200" dirty="0">
                <a:solidFill>
                  <a:srgbClr val="000000"/>
                </a:solidFill>
                <a:effectLst/>
              </a:rPr>
              <a:t>EUR</a:t>
            </a:r>
            <a:endParaRPr lang="da-DK" sz="1200" noProof="0" dirty="0">
              <a:solidFill>
                <a:srgbClr val="000000"/>
              </a:solidFill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6E480EB1-EFDC-D08A-E518-518558F4D2E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27525" y="2740025"/>
            <a:ext cx="744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3A97BE-1560-4CF6-87EF-0181DA283FB9}" type="datetime'''''''''''''1''''''''''''''''''''''55''''''''''''0'''''">
              <a:rPr lang="da-DK" altLang="en-US" sz="1200" smtClean="0">
                <a:solidFill>
                  <a:srgbClr val="000000"/>
                </a:solidFill>
              </a:rPr>
              <a:pPr/>
              <a:t>1550</a:t>
            </a:fld>
            <a:r>
              <a:rPr lang="da-DK" altLang="en-US" sz="1200">
                <a:solidFill>
                  <a:srgbClr val="000000"/>
                </a:solidFill>
                <a:effectLst/>
              </a:rPr>
              <a:t> </a:t>
            </a:r>
            <a:r>
              <a:rPr lang="da-DK" altLang="en-US" sz="1200" dirty="0">
                <a:solidFill>
                  <a:srgbClr val="000000"/>
                </a:solidFill>
                <a:effectLst/>
              </a:rPr>
              <a:t>EUR</a:t>
            </a:r>
            <a:endParaRPr lang="da-DK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898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88B444-CEF6-54A4-EAC3-F1C864938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C990E8-974E-8688-78CE-01F3D306DC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113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C990E8-974E-8688-78CE-01F3D306DC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A8178-9EBD-F700-831D-D020E8257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60000"/>
            <a:ext cx="10738913" cy="831600"/>
          </a:xfrm>
        </p:spPr>
        <p:txBody>
          <a:bodyPr vert="horz"/>
          <a:lstStyle/>
          <a:p>
            <a:r>
              <a:rPr lang="da-DK" dirty="0"/>
              <a:t>A </a:t>
            </a:r>
            <a:r>
              <a:rPr lang="da-DK" dirty="0" err="1"/>
              <a:t>household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 </a:t>
            </a:r>
            <a:r>
              <a:rPr lang="da-DK" dirty="0" err="1"/>
              <a:t>expect</a:t>
            </a:r>
            <a:r>
              <a:rPr lang="da-DK" dirty="0"/>
              <a:t> to save 1.335 EUR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year</a:t>
            </a:r>
            <a:r>
              <a:rPr lang="da-DK" dirty="0"/>
              <a:t> – </a:t>
            </a:r>
            <a:r>
              <a:rPr lang="da-DK" b="0" dirty="0"/>
              <a:t>and relative </a:t>
            </a:r>
            <a:r>
              <a:rPr lang="da-DK" b="0" dirty="0" err="1"/>
              <a:t>savings</a:t>
            </a:r>
            <a:r>
              <a:rPr lang="da-DK" b="0" dirty="0"/>
              <a:t> </a:t>
            </a:r>
            <a:r>
              <a:rPr lang="da-DK" b="0" dirty="0" err="1"/>
              <a:t>are</a:t>
            </a:r>
            <a:r>
              <a:rPr lang="da-DK" b="0" dirty="0"/>
              <a:t> </a:t>
            </a:r>
            <a:r>
              <a:rPr lang="da-DK" b="0" dirty="0" err="1"/>
              <a:t>largest</a:t>
            </a:r>
            <a:r>
              <a:rPr lang="da-DK" b="0" dirty="0"/>
              <a:t> in rural </a:t>
            </a:r>
            <a:r>
              <a:rPr lang="da-DK" b="0" dirty="0" err="1"/>
              <a:t>areas</a:t>
            </a:r>
            <a:r>
              <a:rPr lang="da-DK" dirty="0"/>
              <a:t>    </a:t>
            </a:r>
          </a:p>
        </p:txBody>
      </p: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C0613DB4-8620-71AE-7C60-6BF1E2452D7F}"/>
              </a:ext>
            </a:extLst>
          </p:cNvPr>
          <p:cNvCxnSpPr/>
          <p:nvPr/>
        </p:nvCxnSpPr>
        <p:spPr>
          <a:xfrm>
            <a:off x="719137" y="1547988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Lige forbindelse 170">
            <a:extLst>
              <a:ext uri="{FF2B5EF4-FFF2-40B4-BE49-F238E27FC236}">
                <a16:creationId xmlns:a16="http://schemas.microsoft.com/office/drawing/2014/main" id="{B70622E9-69DE-3CA9-98D9-BD09AA39DDAA}"/>
              </a:ext>
            </a:extLst>
          </p:cNvPr>
          <p:cNvCxnSpPr/>
          <p:nvPr/>
        </p:nvCxnSpPr>
        <p:spPr>
          <a:xfrm>
            <a:off x="704850" y="5778500"/>
            <a:ext cx="10754063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lede 13" descr="Et billede, der indeholder kort, tekst&#10;&#10;AI-genereret indhold kan være ukorrekt.">
            <a:extLst>
              <a:ext uri="{FF2B5EF4-FFF2-40B4-BE49-F238E27FC236}">
                <a16:creationId xmlns:a16="http://schemas.microsoft.com/office/drawing/2014/main" id="{86D585E6-0DA7-F364-FCDC-FF59251A42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52"/>
          <a:stretch>
            <a:fillRect/>
          </a:stretch>
        </p:blipFill>
        <p:spPr>
          <a:xfrm>
            <a:off x="7169150" y="1874520"/>
            <a:ext cx="3717925" cy="3980302"/>
          </a:xfrm>
          <a:prstGeom prst="rect">
            <a:avLst/>
          </a:prstGeom>
        </p:spPr>
      </p:pic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0365B054-68D4-B105-70B4-22A5ED1E101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760527"/>
              </p:ext>
            </p:extLst>
          </p:nvPr>
        </p:nvGraphicFramePr>
        <p:xfrm>
          <a:off x="911225" y="2865438"/>
          <a:ext cx="5106988" cy="2605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476E534-F8CE-48CF-9B61-72A1486757E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41525" y="5438775"/>
            <a:ext cx="374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A2A2EF8-D5BF-4E1E-8F4C-DC1A59A378C1}" type="datetime'''''20''''''''''''''''''''2''''''''''''''''''''5'''''''''''''">
              <a:rPr kumimoji="0" lang="da-DK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654FB9-84A4-C9DA-A88C-0F6407CA79C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13263" y="5438775"/>
            <a:ext cx="373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33E6DC-BA00-4DAE-AFD5-011BBC0733D2}" type="datetime'''''''''''''''''''''''''2''''''''''''''''''''''0''''''3''''5'">
              <a:rPr kumimoji="0" lang="da-DK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37940A1-DBE3-5AEC-6555-F2263E10DE8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65313" y="344011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6BF704-94A2-4BB3-AFF2-E9E2650BC4E9}" type="datetime'''1''3''''''''''''35'''''''''''''''''''''">
              <a:rPr lang="da-DK" altLang="en-US" sz="1200" smtClean="0">
                <a:solidFill>
                  <a:srgbClr val="00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35</a:t>
            </a:fld>
            <a:r>
              <a:rPr lang="da-DK" altLang="en-US" sz="1200" dirty="0">
                <a:solidFill>
                  <a:srgbClr val="000000"/>
                </a:solidFill>
                <a:effectLst/>
              </a:rPr>
              <a:t> EUR</a:t>
            </a:r>
            <a:endParaRPr lang="da-DK" sz="1200" noProof="0" dirty="0">
              <a:solidFill>
                <a:srgbClr val="000000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AF36ACE-A9CA-01F4-554B-3CF411EE215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27525" y="2740025"/>
            <a:ext cx="744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8FE909-EA34-41C8-826E-0B412A64701F}" type="datetime'''''''''''''''''''''''''''''1''''55''''''''''''0'''''''''">
              <a:rPr lang="da-DK" altLang="en-US" sz="1200" smtClean="0">
                <a:solidFill>
                  <a:srgbClr val="00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0</a:t>
            </a:fld>
            <a:r>
              <a:rPr lang="da-DK" altLang="en-US" sz="1200" dirty="0">
                <a:solidFill>
                  <a:srgbClr val="000000"/>
                </a:solidFill>
                <a:effectLst/>
              </a:rPr>
              <a:t> EUR</a:t>
            </a:r>
            <a:endParaRPr lang="da-DK" sz="1200" noProof="0" dirty="0">
              <a:solidFill>
                <a:srgbClr val="000000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54B88EB1-D984-CF02-76FB-E5BB3DBAB665}"/>
              </a:ext>
            </a:extLst>
          </p:cNvPr>
          <p:cNvSpPr txBox="1"/>
          <p:nvPr/>
        </p:nvSpPr>
        <p:spPr>
          <a:xfrm>
            <a:off x="645223" y="1176181"/>
            <a:ext cx="637139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Estimated yearly savings between heat pump and oil/gas boiler for a single-house </a:t>
            </a:r>
          </a:p>
          <a:p>
            <a:r>
              <a:rPr lang="en-US" sz="1000" dirty="0">
                <a:solidFill>
                  <a:schemeClr val="accent1"/>
                </a:solidFill>
              </a:rPr>
              <a:t>EUR/year (2024-price index)</a:t>
            </a:r>
            <a:endParaRPr lang="da-DK" sz="1000" dirty="0">
              <a:solidFill>
                <a:schemeClr val="accent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E205F70D-6E11-C6FE-EAA0-5F499D8F4D5E}"/>
              </a:ext>
            </a:extLst>
          </p:cNvPr>
          <p:cNvSpPr txBox="1"/>
          <p:nvPr/>
        </p:nvSpPr>
        <p:spPr>
          <a:xfrm>
            <a:off x="7287208" y="1158629"/>
            <a:ext cx="418479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Savings relative to disposable income by municipality</a:t>
            </a:r>
          </a:p>
          <a:p>
            <a:r>
              <a:rPr lang="en-US" sz="1000" dirty="0">
                <a:solidFill>
                  <a:schemeClr val="accent1"/>
                </a:solidFill>
              </a:rPr>
              <a:t>%</a:t>
            </a:r>
            <a:endParaRPr lang="da-DK" sz="1000" dirty="0">
              <a:solidFill>
                <a:schemeClr val="accent1"/>
              </a:solidFill>
            </a:endParaRPr>
          </a:p>
        </p:txBody>
      </p:sp>
      <p:sp>
        <p:nvSpPr>
          <p:cNvPr id="25" name="Pladsholder til tekst 4">
            <a:extLst>
              <a:ext uri="{FF2B5EF4-FFF2-40B4-BE49-F238E27FC236}">
                <a16:creationId xmlns:a16="http://schemas.microsoft.com/office/drawing/2014/main" id="{0C92500F-2764-8BCB-0151-7246BA079126}"/>
              </a:ext>
            </a:extLst>
          </p:cNvPr>
          <p:cNvSpPr txBox="1">
            <a:spLocks/>
          </p:cNvSpPr>
          <p:nvPr/>
        </p:nvSpPr>
        <p:spPr>
          <a:xfrm>
            <a:off x="719999" y="5849199"/>
            <a:ext cx="9259025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Note:</a:t>
            </a:r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: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alculated using a large sample of actual households in Denmark using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registerdat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from Statistics Denmark. Savings are only single-house buildings or terraced houses under 350 square meters. </a:t>
            </a:r>
          </a:p>
          <a:p>
            <a:pPr>
              <a:spcAft>
                <a:spcPts val="0"/>
              </a:spcAft>
              <a:buFontTx/>
              <a:buNone/>
              <a:defRPr/>
            </a:pPr>
            <a:r>
              <a:rPr lang="da-DK" b="1" dirty="0">
                <a:solidFill>
                  <a:schemeClr val="bg1">
                    <a:lumMod val="65000"/>
                  </a:schemeClr>
                </a:solidFill>
              </a:rPr>
              <a:t>Source: 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Green Power Denmark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using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Statistics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Denmarks </a:t>
            </a:r>
            <a:r>
              <a:rPr lang="da-DK" dirty="0" err="1">
                <a:solidFill>
                  <a:schemeClr val="bg1">
                    <a:lumMod val="65000"/>
                  </a:schemeClr>
                </a:solidFill>
              </a:rPr>
              <a:t>registry</a:t>
            </a:r>
            <a:r>
              <a:rPr lang="da-DK" dirty="0">
                <a:solidFill>
                  <a:schemeClr val="bg1">
                    <a:lumMod val="65000"/>
                  </a:schemeClr>
                </a:solidFill>
              </a:rPr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11391146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4BABF780-2E86-B3AA-E02C-CEF144461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106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ABF780-2E86-B3AA-E02C-CEF144461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ED59677-DE5A-0620-4D01-536191F630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49" y="385050"/>
            <a:ext cx="5373687" cy="3515088"/>
          </a:xfrm>
        </p:spPr>
        <p:txBody>
          <a:bodyPr lIns="90000" rIns="9000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b="0" dirty="0">
                <a:latin typeface="Montserrat"/>
              </a:rPr>
              <a:t>Wind- and </a:t>
            </a:r>
            <a:r>
              <a:rPr lang="da-DK" sz="2000" b="0" dirty="0" err="1">
                <a:latin typeface="Montserrat"/>
              </a:rPr>
              <a:t>solarpower</a:t>
            </a:r>
            <a:r>
              <a:rPr lang="da-DK" sz="2000" b="0" dirty="0">
                <a:latin typeface="Montserrat"/>
              </a:rPr>
              <a:t> </a:t>
            </a:r>
            <a:r>
              <a:rPr lang="da-DK" sz="2000" dirty="0" err="1">
                <a:latin typeface="Montserrat"/>
              </a:rPr>
              <a:t>decreased</a:t>
            </a:r>
            <a:r>
              <a:rPr lang="da-DK" sz="2000" dirty="0">
                <a:latin typeface="Montserrat"/>
              </a:rPr>
              <a:t> the average </a:t>
            </a:r>
            <a:r>
              <a:rPr lang="da-DK" sz="2000" dirty="0" err="1">
                <a:latin typeface="Montserrat"/>
              </a:rPr>
              <a:t>spotprice</a:t>
            </a:r>
            <a:r>
              <a:rPr lang="da-DK" sz="2000" dirty="0">
                <a:latin typeface="Montserrat"/>
              </a:rPr>
              <a:t> in 2024 in Denmark</a:t>
            </a: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2000" dirty="0">
              <a:latin typeface="Montserra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2000" dirty="0">
              <a:latin typeface="Montserra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307675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B017B28-B362-B44D-66E3-1E145FBDF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B2C62A21-9D20-803D-59CA-5973D9192DE6}"/>
              </a:ext>
            </a:extLst>
          </p:cNvPr>
          <p:cNvSpPr txBox="1"/>
          <p:nvPr/>
        </p:nvSpPr>
        <p:spPr>
          <a:xfrm>
            <a:off x="6620740" y="3161474"/>
            <a:ext cx="46512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a-DK" sz="5400" b="1" dirty="0">
                <a:solidFill>
                  <a:schemeClr val="accent2"/>
                </a:solidFill>
              </a:rPr>
              <a:t>~ 0,7 </a:t>
            </a:r>
            <a:r>
              <a:rPr lang="da-DK" sz="5400" b="1" dirty="0" err="1">
                <a:solidFill>
                  <a:schemeClr val="accent2"/>
                </a:solidFill>
              </a:rPr>
              <a:t>bn</a:t>
            </a:r>
            <a:r>
              <a:rPr lang="da-DK" sz="5400" b="1" dirty="0">
                <a:solidFill>
                  <a:schemeClr val="accent2"/>
                </a:solidFill>
              </a:rPr>
              <a:t> EUR</a:t>
            </a:r>
            <a:endParaRPr lang="da-DK" sz="2400" dirty="0">
              <a:solidFill>
                <a:schemeClr val="accent2"/>
              </a:solidFill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1615048A-166B-A21F-6221-F28375AFCD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131063"/>
              </p:ext>
            </p:extLst>
          </p:nvPr>
        </p:nvGraphicFramePr>
        <p:xfrm>
          <a:off x="539750" y="1125538"/>
          <a:ext cx="5373688" cy="421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9" name="Pladsholder til tekst 1">
            <a:extLst>
              <a:ext uri="{FF2B5EF4-FFF2-40B4-BE49-F238E27FC236}">
                <a16:creationId xmlns:a16="http://schemas.microsoft.com/office/drawing/2014/main" id="{2D21E35F-51B5-CBB7-4085-F8218B483305}"/>
              </a:ext>
            </a:extLst>
          </p:cNvPr>
          <p:cNvSpPr txBox="1">
            <a:spLocks/>
          </p:cNvSpPr>
          <p:nvPr/>
        </p:nvSpPr>
        <p:spPr>
          <a:xfrm>
            <a:off x="539750" y="4477544"/>
            <a:ext cx="2451862" cy="1484312"/>
          </a:xfrm>
          <a:prstGeom prst="rect">
            <a:avLst/>
          </a:prstGeom>
        </p:spPr>
        <p:txBody>
          <a:bodyPr vert="horz" lIns="90000" tIns="0" rIns="9000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Tx/>
              <a:buNone/>
              <a:defRPr/>
            </a:pPr>
            <a:endParaRPr lang="da-DK" sz="2000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r>
              <a:rPr lang="da-DK" sz="2000" b="0" i="1" dirty="0">
                <a:latin typeface="Montserrat"/>
              </a:rPr>
              <a:t>Average </a:t>
            </a:r>
            <a:r>
              <a:rPr lang="da-DK" sz="2000" b="0" i="1" dirty="0" err="1">
                <a:latin typeface="Montserrat"/>
              </a:rPr>
              <a:t>actual</a:t>
            </a:r>
            <a:r>
              <a:rPr lang="da-DK" sz="2000" b="0" i="1" dirty="0">
                <a:latin typeface="Montserrat"/>
              </a:rPr>
              <a:t> spotpris in 2024</a:t>
            </a:r>
            <a:br>
              <a:rPr lang="da-DK" sz="2000" b="0" i="1" dirty="0">
                <a:latin typeface="Montserrat"/>
              </a:rPr>
            </a:br>
            <a:endParaRPr lang="da-DK" sz="2000" b="0" i="1" dirty="0">
              <a:latin typeface="Montserrat"/>
            </a:endParaRPr>
          </a:p>
        </p:txBody>
      </p:sp>
      <p:sp>
        <p:nvSpPr>
          <p:cNvPr id="66" name="Pladsholder til tekst 1">
            <a:extLst>
              <a:ext uri="{FF2B5EF4-FFF2-40B4-BE49-F238E27FC236}">
                <a16:creationId xmlns:a16="http://schemas.microsoft.com/office/drawing/2014/main" id="{63F1FD97-A004-80BE-8650-9678B4BE3167}"/>
              </a:ext>
            </a:extLst>
          </p:cNvPr>
          <p:cNvSpPr txBox="1">
            <a:spLocks/>
          </p:cNvSpPr>
          <p:nvPr/>
        </p:nvSpPr>
        <p:spPr>
          <a:xfrm>
            <a:off x="3233562" y="4477544"/>
            <a:ext cx="2679874" cy="1484312"/>
          </a:xfrm>
          <a:prstGeom prst="rect">
            <a:avLst/>
          </a:prstGeom>
        </p:spPr>
        <p:txBody>
          <a:bodyPr vert="horz" lIns="90000" tIns="0" rIns="9000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Tx/>
              <a:buNone/>
              <a:defRPr/>
            </a:pPr>
            <a:endParaRPr lang="da-DK" sz="2000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r>
              <a:rPr lang="da-DK" sz="2000" b="0" i="1" dirty="0">
                <a:latin typeface="Montserrat"/>
              </a:rPr>
              <a:t>Average </a:t>
            </a:r>
            <a:r>
              <a:rPr lang="da-DK" sz="2000" b="0" i="1" dirty="0" err="1">
                <a:latin typeface="Montserrat"/>
              </a:rPr>
              <a:t>estimated</a:t>
            </a:r>
            <a:r>
              <a:rPr lang="da-DK" sz="2000" b="0" i="1" dirty="0">
                <a:latin typeface="Montserrat"/>
              </a:rPr>
              <a:t> spotpris in 2024 – </a:t>
            </a:r>
            <a:r>
              <a:rPr lang="da-DK" sz="2000" i="1" dirty="0">
                <a:latin typeface="Montserrat"/>
              </a:rPr>
              <a:t>with </a:t>
            </a:r>
            <a:r>
              <a:rPr lang="da-DK" sz="2000" i="1" dirty="0" err="1">
                <a:latin typeface="Montserrat"/>
              </a:rPr>
              <a:t>energy</a:t>
            </a:r>
            <a:r>
              <a:rPr lang="da-DK" sz="2000" i="1" dirty="0">
                <a:latin typeface="Montserrat"/>
              </a:rPr>
              <a:t> mix like in the 2000’s</a:t>
            </a:r>
            <a:br>
              <a:rPr lang="da-DK" sz="2000" b="0" i="1" dirty="0">
                <a:latin typeface="Montserrat"/>
              </a:rPr>
            </a:br>
            <a:endParaRPr lang="da-DK" sz="2000" b="0" i="1" dirty="0">
              <a:latin typeface="Montserrat"/>
            </a:endParaRPr>
          </a:p>
        </p:txBody>
      </p:sp>
      <p:sp>
        <p:nvSpPr>
          <p:cNvPr id="88" name="Pladsholder til tekst 1">
            <a:extLst>
              <a:ext uri="{FF2B5EF4-FFF2-40B4-BE49-F238E27FC236}">
                <a16:creationId xmlns:a16="http://schemas.microsoft.com/office/drawing/2014/main" id="{608C48D9-583F-78B1-429D-22D79F30C921}"/>
              </a:ext>
            </a:extLst>
          </p:cNvPr>
          <p:cNvSpPr txBox="1">
            <a:spLocks/>
          </p:cNvSpPr>
          <p:nvPr/>
        </p:nvSpPr>
        <p:spPr>
          <a:xfrm>
            <a:off x="6477128" y="385050"/>
            <a:ext cx="5373687" cy="3515088"/>
          </a:xfrm>
          <a:prstGeom prst="rect">
            <a:avLst/>
          </a:prstGeom>
        </p:spPr>
        <p:txBody>
          <a:bodyPr vert="horz" lIns="90000" tIns="0" rIns="9000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buFontTx/>
              <a:buNone/>
              <a:defRPr/>
            </a:pPr>
            <a:r>
              <a:rPr lang="da-DK" sz="2000" b="0" dirty="0">
                <a:solidFill>
                  <a:schemeClr val="accent2"/>
                </a:solidFill>
                <a:latin typeface="Montserrat"/>
              </a:rPr>
              <a:t>The total </a:t>
            </a:r>
            <a:r>
              <a:rPr lang="da-DK" sz="2000" b="0" dirty="0" err="1">
                <a:solidFill>
                  <a:schemeClr val="accent2"/>
                </a:solidFill>
                <a:latin typeface="Montserrat"/>
              </a:rPr>
              <a:t>estimated</a:t>
            </a:r>
            <a:r>
              <a:rPr lang="da-DK" sz="2000" b="0" dirty="0">
                <a:solidFill>
                  <a:schemeClr val="accent2"/>
                </a:solidFill>
                <a:latin typeface="Montserrat"/>
              </a:rPr>
              <a:t> </a:t>
            </a:r>
            <a:r>
              <a:rPr lang="da-DK" sz="2000" b="0" dirty="0" err="1">
                <a:solidFill>
                  <a:schemeClr val="accent2"/>
                </a:solidFill>
                <a:latin typeface="Montserrat"/>
              </a:rPr>
              <a:t>savings</a:t>
            </a:r>
            <a:r>
              <a:rPr lang="da-DK" sz="2000" b="0" dirty="0">
                <a:solidFill>
                  <a:schemeClr val="accent2"/>
                </a:solidFill>
                <a:latin typeface="Montserrat"/>
              </a:rPr>
              <a:t> from </a:t>
            </a:r>
            <a:r>
              <a:rPr lang="da-DK" sz="2000" dirty="0" err="1">
                <a:solidFill>
                  <a:schemeClr val="accent2"/>
                </a:solidFill>
                <a:latin typeface="Montserrat"/>
              </a:rPr>
              <a:t>lower</a:t>
            </a:r>
            <a:r>
              <a:rPr lang="da-DK" sz="2000" dirty="0">
                <a:solidFill>
                  <a:schemeClr val="accent2"/>
                </a:solidFill>
                <a:latin typeface="Montserrat"/>
              </a:rPr>
              <a:t> </a:t>
            </a:r>
            <a:r>
              <a:rPr lang="da-DK" sz="2000" dirty="0" err="1">
                <a:solidFill>
                  <a:schemeClr val="accent2"/>
                </a:solidFill>
                <a:latin typeface="Montserrat"/>
              </a:rPr>
              <a:t>cost</a:t>
            </a:r>
            <a:r>
              <a:rPr lang="da-DK" sz="2000" dirty="0">
                <a:solidFill>
                  <a:schemeClr val="accent2"/>
                </a:solidFill>
                <a:latin typeface="Montserrat"/>
              </a:rPr>
              <a:t> of </a:t>
            </a:r>
            <a:r>
              <a:rPr lang="da-DK" sz="2000" dirty="0" err="1">
                <a:solidFill>
                  <a:schemeClr val="accent2"/>
                </a:solidFill>
                <a:latin typeface="Montserrat"/>
              </a:rPr>
              <a:t>electricity</a:t>
            </a:r>
            <a:r>
              <a:rPr lang="da-DK" sz="2000" dirty="0">
                <a:solidFill>
                  <a:schemeClr val="accent2"/>
                </a:solidFill>
                <a:latin typeface="Montserrat"/>
              </a:rPr>
              <a:t> </a:t>
            </a: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  <a:p>
            <a:pPr algn="l">
              <a:lnSpc>
                <a:spcPct val="100000"/>
              </a:lnSpc>
              <a:buFontTx/>
              <a:buNone/>
              <a:defRPr/>
            </a:pPr>
            <a:endParaRPr lang="da-DK" sz="2000" dirty="0">
              <a:solidFill>
                <a:schemeClr val="accent2"/>
              </a:solidFill>
              <a:latin typeface="Montserrat"/>
            </a:endParaRPr>
          </a:p>
        </p:txBody>
      </p:sp>
      <p:sp>
        <p:nvSpPr>
          <p:cNvPr id="3" name="Pladsholder til tekst 1">
            <a:extLst>
              <a:ext uri="{FF2B5EF4-FFF2-40B4-BE49-F238E27FC236}">
                <a16:creationId xmlns:a16="http://schemas.microsoft.com/office/drawing/2014/main" id="{599CF9D7-2342-D3D3-EBD2-028FD5C2096C}"/>
              </a:ext>
            </a:extLst>
          </p:cNvPr>
          <p:cNvSpPr txBox="1">
            <a:spLocks/>
          </p:cNvSpPr>
          <p:nvPr/>
        </p:nvSpPr>
        <p:spPr>
          <a:xfrm>
            <a:off x="2304661" y="1054358"/>
            <a:ext cx="1757752" cy="464879"/>
          </a:xfrm>
          <a:prstGeom prst="rect">
            <a:avLst/>
          </a:prstGeom>
        </p:spPr>
        <p:txBody>
          <a:bodyPr vert="horz" lIns="90000" tIns="0" rIns="9000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 kern="1200" baseline="0">
                <a:solidFill>
                  <a:srgbClr val="307675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Tx/>
              <a:buNone/>
              <a:defRPr/>
            </a:pPr>
            <a:r>
              <a:rPr lang="da-DK" sz="1400" b="0" i="1" dirty="0">
                <a:latin typeface="Montserrat"/>
              </a:rPr>
              <a:t>(EUR/kWh)</a:t>
            </a: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  <a:p>
            <a:pPr>
              <a:lnSpc>
                <a:spcPct val="100000"/>
              </a:lnSpc>
              <a:buFontTx/>
              <a:buNone/>
              <a:defRPr/>
            </a:pPr>
            <a:endParaRPr lang="da-DK" sz="1400" i="1" dirty="0"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62688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24C6167-6BB5-582F-8FE6-ACE427D8F3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50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4C6167-6BB5-582F-8FE6-ACE427D8F3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74403B6-AB66-61C1-2EF4-D634FE3A7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endParaRPr lang="da-DK" dirty="0"/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7D583505-645A-D748-B566-7F206BD262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E8803F8-D0E1-90BB-783D-F9A34E1322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FDB40BAE-8E43-5D76-51CD-D387861BEE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9A2F845-0E14-2DB5-E484-01F59B310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4770BEA-BCB8-342E-3EF8-0816232E2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39999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3A&quot; g=&quot;8E&quot; b=&quot;8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Dh7Ho5GD6NL5Is9Y_r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aVq.8JTqJWXl.9fifr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xLMwLIFmzE4V8KPJ3f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VEAbAu6eJ_jIT2tkDTF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AG9o0WB1FTnbkW5bsAO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9Zp3LIR3ZcezpnB.y.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2._7KWUqPCCscSNEsS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fYPWtdd40W9jPO9xzec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._E9dt.hzf3ZR4EueM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nqrlXrZSURdN.mQYe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PYjJCe0.9Y9urc0Z88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6gH8izo0h4IGxF6036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koXO3SSx7Gtob6hW7C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BifzMbr3D2lWwJHMCY5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VxNhMKrg_l0NwfEXL_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lNGUo9NKEM0_ra9N5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X3jhS_5c_lbztH8iFU6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ZirNw2EvrJECqxqzdY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fG9.BT33e.__vwgnYi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DBCWR7Sy8GrR94XtMj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qQW3_VCg0OGgRJVBgZu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CJU302AsP9dH4j6uqt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zsTw5y9CLTMYO_aKsD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dDGC63or2VGBnDEp6Tm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KQkkUGJrRrKOxyWb7A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3HZTbcdTTV3a1APMbPe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QSYIYsvsPrMb1FYNDij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TQuV5uy0pL4gf55wPGs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ERIUf7DOuF8QIx70O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90EaxgvUZ5vp30h2cV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c910yVH_qAt4qYxgoLJ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qK7XgWSbKBfR2ahN2ra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MfgzKYplHcx.m8LYD4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nL8aaXJ1SCt7e5fkVl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S6kJrjS3NctgGR.O63_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oU9w0mQrTC23ZDfZzcK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6MrOr1BMcZWTv8w8pk7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zm1vjPdLnvnOXkFbo_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zaKnCdcGTM6JKAn6x5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UKLJmzyezr.c.lp1sr7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5QwkMRtO_542d_lXtPY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v1xvUnObp1VqEDSd1v4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gBBhkOmOQDPGiTacS0F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3ywmzeni695Kr2Cunz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PZN5ZjJaKOg3mqN4_j_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WebZus_N_2rEbIEBci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bUtUwhSmQe_cYq9_xT1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3sAxGM.meN4vYUW5so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ysvDESy1wduSw7K0UPx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3bOcQ44actIqcbYsAW6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nQ3EQltqE_dqaJluki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DBu7AjXWxVvpPVwYHdl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CqU.pKHBaVPsoG2GBA4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phK2BIWDHuae64QW_vp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Yb6BpdIvLRjh4zT_Yd8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ZVxLTYKQKl.5qS7cej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0Pk2fITuNqSipDghbEH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O.o.Mi4Yj0Xq2b0uGK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M9cKug.0dr5xSyi7E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JPjEtFJEG.wLIJHsfn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JwuVH2QP3PJ9bYqVc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5mYTFRJGgoVjdsXxhA1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bb2XqzAi6fNZdNHp4O0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GWbZtrK75btP29GFCZ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YQWm7I0Zmj_BQsseSq5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S.xXmuTGfM5MaeGoD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jbvnZNUAAJ90ExUQs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h7VCAa4aiRHfqfXVTv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sAyRrwiSz31N_WJcRD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CXUlKQhIAXC6Mq5ULMm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G8eobHvA9qUi4zaJrk5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gikTFH0m05YIgcbf1I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WLjfjZ0Xvb5wO08LMDl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SlRdiiHH7.yz_ZSWYU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Mip11VnxPul.E925231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KLzqOHThzcR89R0FI3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3KcYHitqe9H727KvkjD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.ejH8_k2VNEfjkm8Vj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wT.J.oxLWNvTUmqR3o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qMmTM1QlbJkfWVomJq8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9PgRE_igF7R2rEcAKJW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Kw65M4VU.A7CLrTKKOF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pDQUET6Z_G1_Uq9y7YT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uzUOR4kYSGh0s.lVkm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IP2sKvr5R4h8LiKNaR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dTAJG4Iav.Xc4orQja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rXUhbLQhk6wth07zOl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BW0u_Lp6HWQDP12hmJ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jobcf6bH7CYInTu.7e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h1b4ujP1pE9f9g8DvdE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dEDRPEWwMm6nJRLHZ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kKra3osAqjBcsuc8U9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ftGtttuOmme1H9fFWV4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QTCuTtLgqa4Mc7F2Z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ELS2_8Z_VfRTiTkU7J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666fadfRAthZ0F1v7En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5GsLLIdkIrP_O_4FHt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gNV6KfmWJvibPn3m6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WgyOYkfH_xjkkKtW1y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PJN4Vsf2Kgqdo0gUg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i1XnvehAXyzSeu5xaq8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n.nGuQlW8C2DKRSqP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X5jHVHQxWNLn3PkuY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3VidUexu7q1AjKE6u3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oc4s1KnFTV90E3bEif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2evvdq1vbXx2Bi66ayc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G3Zu8vLAalHNVy14.SP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c7k8GcOKvJbi1p16t45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22e30sp8.C1qF._YSv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agPydt8gPNnarzqDbR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8tr_.kglcXNM5H51GO8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5YclVPBMn1fyJRG7FwNw"/>
</p:tagLst>
</file>

<file path=ppt/theme/theme1.xml><?xml version="1.0" encoding="utf-8"?>
<a:theme xmlns:a="http://schemas.openxmlformats.org/drawingml/2006/main" name="Green Power Denmark">
  <a:themeElements>
    <a:clrScheme name="Green Power Denmark">
      <a:dk1>
        <a:srgbClr val="000000"/>
      </a:dk1>
      <a:lt1>
        <a:srgbClr val="FFFFFF"/>
      </a:lt1>
      <a:dk2>
        <a:srgbClr val="5A5E5B"/>
      </a:dk2>
      <a:lt2>
        <a:srgbClr val="DAD9E0"/>
      </a:lt2>
      <a:accent1>
        <a:srgbClr val="307675"/>
      </a:accent1>
      <a:accent2>
        <a:srgbClr val="6FC2B6"/>
      </a:accent2>
      <a:accent3>
        <a:srgbClr val="246C99"/>
      </a:accent3>
      <a:accent4>
        <a:srgbClr val="B5C7DE"/>
      </a:accent4>
      <a:accent5>
        <a:srgbClr val="FFA039"/>
      </a:accent5>
      <a:accent6>
        <a:srgbClr val="E5BDD9"/>
      </a:accent6>
      <a:hlink>
        <a:srgbClr val="6FC2B6"/>
      </a:hlink>
      <a:folHlink>
        <a:srgbClr val="6FC2B6"/>
      </a:folHlink>
    </a:clrScheme>
    <a:fontScheme name="Green Power Denmark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spcBef>
            <a:spcPts val="300"/>
          </a:spcBef>
          <a:defRPr sz="1600" noProof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600" dirty="0" smtClean="0">
            <a:solidFill>
              <a:schemeClr val="accent1"/>
            </a:solidFill>
          </a:defRPr>
        </a:defPPr>
      </a:lstStyle>
    </a:txDef>
  </a:objectDefaults>
  <a:extraClrSchemeLst/>
  <a:custClrLst>
    <a:custClr name="Grøn">
      <a:srgbClr val="307675"/>
    </a:custClr>
    <a:custClr name="Lys grøn">
      <a:srgbClr val="6FC2B6"/>
    </a:custClr>
    <a:custClr name="Lilla">
      <a:srgbClr val="57567C"/>
    </a:custClr>
    <a:custClr name="Lyserød">
      <a:srgbClr val="E5BDD9"/>
    </a:custClr>
    <a:custClr name="Blå">
      <a:srgbClr val="246C99"/>
    </a:custClr>
    <a:custClr name="Lys blå">
      <a:srgbClr val="B5C7DE"/>
    </a:custClr>
    <a:custClr name="Orange">
      <a:srgbClr val="FFA039"/>
    </a:custClr>
    <a:custClr name="Gul">
      <a:srgbClr val="FFEBA9"/>
    </a:custClr>
    <a:custClr name="Mørk grå">
      <a:srgbClr val="5A5E5B"/>
    </a:custClr>
    <a:custClr name="Lys grå">
      <a:srgbClr val="DAD9E0"/>
    </a:custClr>
  </a:custClrLst>
  <a:extLst>
    <a:ext uri="{05A4C25C-085E-4340-85A3-A5531E510DB2}">
      <thm15:themeFamily xmlns:thm15="http://schemas.microsoft.com/office/thememl/2012/main" name="Green Power Denmark Template.potx" id="{B4850EC1-D064-43DA-825B-0FD4ED877A2B}" vid="{5DA88C88-B4D9-45D0-ACD6-0295641B1DBC}"/>
    </a:ext>
  </a:extLst>
</a:theme>
</file>

<file path=ppt/theme/theme2.xml><?xml version="1.0" encoding="utf-8"?>
<a:theme xmlns:a="http://schemas.openxmlformats.org/drawingml/2006/main" name="Office-tema">
  <a:themeElements>
    <a:clrScheme name="Green Power Denmark">
      <a:dk1>
        <a:srgbClr val="000000"/>
      </a:dk1>
      <a:lt1>
        <a:srgbClr val="FFFFFF"/>
      </a:lt1>
      <a:dk2>
        <a:srgbClr val="5A5E5B"/>
      </a:dk2>
      <a:lt2>
        <a:srgbClr val="DAD9E0"/>
      </a:lt2>
      <a:accent1>
        <a:srgbClr val="307675"/>
      </a:accent1>
      <a:accent2>
        <a:srgbClr val="6FC2B6"/>
      </a:accent2>
      <a:accent3>
        <a:srgbClr val="246C99"/>
      </a:accent3>
      <a:accent4>
        <a:srgbClr val="B5C7DE"/>
      </a:accent4>
      <a:accent5>
        <a:srgbClr val="FFA039"/>
      </a:accent5>
      <a:accent6>
        <a:srgbClr val="E5BDD9"/>
      </a:accent6>
      <a:hlink>
        <a:srgbClr val="6FC2B6"/>
      </a:hlink>
      <a:folHlink>
        <a:srgbClr val="6FC2B6"/>
      </a:folHlink>
    </a:clrScheme>
    <a:fontScheme name="Green Power Denmark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Grøn">
      <a:srgbClr val="307675"/>
    </a:custClr>
    <a:custClr name="Lys grøn">
      <a:srgbClr val="6FC2B6"/>
    </a:custClr>
    <a:custClr name="Lilla">
      <a:srgbClr val="57567C"/>
    </a:custClr>
    <a:custClr name="Lyserød">
      <a:srgbClr val="E5BDD9"/>
    </a:custClr>
    <a:custClr name="Blå">
      <a:srgbClr val="246C99"/>
    </a:custClr>
    <a:custClr name="Lys blå">
      <a:srgbClr val="B5C7DE"/>
    </a:custClr>
    <a:custClr name="Orange">
      <a:srgbClr val="FFA039"/>
    </a:custClr>
    <a:custClr name="Gul">
      <a:srgbClr val="FFEBA9"/>
    </a:custClr>
    <a:custClr name="Mørk grå">
      <a:srgbClr val="5A5E5B"/>
    </a:custClr>
    <a:custClr name="Lys grå">
      <a:srgbClr val="DAD9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Green Power Denmark">
      <a:dk1>
        <a:srgbClr val="000000"/>
      </a:dk1>
      <a:lt1>
        <a:srgbClr val="FFFFFF"/>
      </a:lt1>
      <a:dk2>
        <a:srgbClr val="5A5E5B"/>
      </a:dk2>
      <a:lt2>
        <a:srgbClr val="DAD9E0"/>
      </a:lt2>
      <a:accent1>
        <a:srgbClr val="307675"/>
      </a:accent1>
      <a:accent2>
        <a:srgbClr val="6FC2B6"/>
      </a:accent2>
      <a:accent3>
        <a:srgbClr val="246C99"/>
      </a:accent3>
      <a:accent4>
        <a:srgbClr val="B5C7DE"/>
      </a:accent4>
      <a:accent5>
        <a:srgbClr val="FFA039"/>
      </a:accent5>
      <a:accent6>
        <a:srgbClr val="E5BDD9"/>
      </a:accent6>
      <a:hlink>
        <a:srgbClr val="6FC2B6"/>
      </a:hlink>
      <a:folHlink>
        <a:srgbClr val="6FC2B6"/>
      </a:folHlink>
    </a:clrScheme>
    <a:fontScheme name="Green Power Denmark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Grøn">
      <a:srgbClr val="307675"/>
    </a:custClr>
    <a:custClr name="Lys grøn">
      <a:srgbClr val="6FC2B6"/>
    </a:custClr>
    <a:custClr name="Lilla">
      <a:srgbClr val="57567C"/>
    </a:custClr>
    <a:custClr name="Lyserød">
      <a:srgbClr val="E5BDD9"/>
    </a:custClr>
    <a:custClr name="Blå">
      <a:srgbClr val="246C99"/>
    </a:custClr>
    <a:custClr name="Lys blå">
      <a:srgbClr val="B5C7DE"/>
    </a:custClr>
    <a:custClr name="Orange">
      <a:srgbClr val="FFA039"/>
    </a:custClr>
    <a:custClr name="Gul">
      <a:srgbClr val="FFEBA9"/>
    </a:custClr>
    <a:custClr name="Mørk grå">
      <a:srgbClr val="5A5E5B"/>
    </a:custClr>
    <a:custClr name="Lys grå">
      <a:srgbClr val="DAD9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6" ma:contentTypeDescription="Create a new document." ma:contentTypeScope="" ma:versionID="5a6d821fafa8c1b6c498b45dd56d542c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cb514c0243f67ba30e30db0d5605bea9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Props1.xml><?xml version="1.0" encoding="utf-8"?>
<ds:datastoreItem xmlns:ds="http://schemas.openxmlformats.org/officeDocument/2006/customXml" ds:itemID="{BD56525F-020B-47EB-BEB2-4F8882DA704C}"/>
</file>

<file path=customXml/itemProps2.xml><?xml version="1.0" encoding="utf-8"?>
<ds:datastoreItem xmlns:ds="http://schemas.openxmlformats.org/officeDocument/2006/customXml" ds:itemID="{7ECC2708-DFC9-4CC0-9A73-91D2E9564A81}"/>
</file>

<file path=customXml/itemProps3.xml><?xml version="1.0" encoding="utf-8"?>
<ds:datastoreItem xmlns:ds="http://schemas.openxmlformats.org/officeDocument/2006/customXml" ds:itemID="{7A8C9632-1B77-4E63-9C8C-B7AE16DF767A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89</TotalTime>
  <Words>690</Words>
  <Application>Microsoft Office PowerPoint</Application>
  <PresentationFormat>Widescreen</PresentationFormat>
  <Paragraphs>224</Paragraphs>
  <Slides>9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3" baseType="lpstr">
      <vt:lpstr>Montserrat</vt:lpstr>
      <vt:lpstr>Arial</vt:lpstr>
      <vt:lpstr>Green Power Denmark</vt:lpstr>
      <vt:lpstr>think-cell Slide</vt:lpstr>
      <vt:lpstr>The advantages of electrification for citizens and sovereinity</vt:lpstr>
      <vt:lpstr>Natural gas covers around 20 percent of EU’s energy consumption</vt:lpstr>
      <vt:lpstr>PowerPoint-præsentation</vt:lpstr>
      <vt:lpstr>The US will always have access to cheaper gas than Europe</vt:lpstr>
      <vt:lpstr>PowerPoint-præsentation</vt:lpstr>
      <vt:lpstr>A household can expect to save 1.335 EUR each year    </vt:lpstr>
      <vt:lpstr>A household can expect to save 1.335 EUR each year – and relative savings are largest in rural areas    </vt:lpstr>
      <vt:lpstr>PowerPoint-præ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ristian Rune Poulsen</dc:creator>
  <cp:lastModifiedBy>Kristian Jensen</cp:lastModifiedBy>
  <cp:revision>10</cp:revision>
  <dcterms:created xsi:type="dcterms:W3CDTF">2025-03-19T05:23:33Z</dcterms:created>
  <dcterms:modified xsi:type="dcterms:W3CDTF">2025-10-16T09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omnidocs.com</vt:lpwstr>
  </property>
  <property fmtid="{D5CDD505-2E9C-101B-9397-08002B2CF9AE}" pid="3" name="ContentTypeId">
    <vt:lpwstr>0x01010063BA515A7BAE2A43BBCEEFC8DB246324</vt:lpwstr>
  </property>
</Properties>
</file>